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60" r:id="rId5"/>
    <p:sldMasterId id="2147483684" r:id="rId6"/>
    <p:sldMasterId id="2147483704" r:id="rId7"/>
    <p:sldMasterId id="2147483715" r:id="rId8"/>
    <p:sldMasterId id="2147483738" r:id="rId9"/>
  </p:sldMasterIdLst>
  <p:notesMasterIdLst>
    <p:notesMasterId r:id="rId33"/>
  </p:notesMasterIdLst>
  <p:handoutMasterIdLst>
    <p:handoutMasterId r:id="rId34"/>
  </p:handoutMasterIdLst>
  <p:sldIdLst>
    <p:sldId id="256" r:id="rId10"/>
    <p:sldId id="18644" r:id="rId11"/>
    <p:sldId id="18632" r:id="rId12"/>
    <p:sldId id="18626" r:id="rId13"/>
    <p:sldId id="5329" r:id="rId14"/>
    <p:sldId id="18627" r:id="rId15"/>
    <p:sldId id="18628" r:id="rId16"/>
    <p:sldId id="18645" r:id="rId17"/>
    <p:sldId id="18629" r:id="rId18"/>
    <p:sldId id="18646" r:id="rId19"/>
    <p:sldId id="18641" r:id="rId20"/>
    <p:sldId id="5491" r:id="rId21"/>
    <p:sldId id="5489" r:id="rId22"/>
    <p:sldId id="18630" r:id="rId23"/>
    <p:sldId id="18647" r:id="rId24"/>
    <p:sldId id="5490" r:id="rId25"/>
    <p:sldId id="18648" r:id="rId26"/>
    <p:sldId id="5494" r:id="rId27"/>
    <p:sldId id="5495" r:id="rId28"/>
    <p:sldId id="5496" r:id="rId29"/>
    <p:sldId id="5497" r:id="rId30"/>
    <p:sldId id="5493" r:id="rId31"/>
    <p:sldId id="18631" r:id="rId32"/>
  </p:sldIdLst>
  <p:sldSz cx="9144000" cy="5143500" type="screen16x9"/>
  <p:notesSz cx="6858000" cy="9620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5EE6712-E37F-A901-8C69-22801BDC2FB6}" name="Smith, Irene Skupniewicz (ARC-AFO)" initials="S(" userId="S::issmith1@ndc.nasa.gov::8e4c45ac-fa19-43b2-8bc3-3a1a5260691b" providerId="AD"/>
  <p188:author id="{2450AD9B-1CDF-D903-7DDA-B4C18B466E2D}" name="Rios, Joseph (ARC-AF)" initials="RJ(A" userId="S::jlrios@ndc.nasa.gov::7b4eef8b-6a8b-4707-a865-be002eadede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harine Lee" initials="KL" lastIdx="4" clrIdx="0"/>
  <p:cmAuthor id="1" name="Barmore, Bryan E. (LARC-D318)" initials="BBE(" lastIdx="12" clrIdx="1"/>
  <p:cmAuthor id="2" name="Paul Lee" initials="pl" lastIdx="2" clrIdx="2"/>
  <p:cmAuthor id="3" name="ODIN" initials="" lastIdx="13" clrIdx="3"/>
  <p:cmAuthor id="4" name="william chan" initials="wc" lastIdx="2" clrIdx="4"/>
  <p:cmAuthor id="5" name="Bryan Barmore" initials="BB" lastIdx="43" clrIdx="5"/>
  <p:cmAuthor id="6" name="Microsoft Office User" initials="Office" lastIdx="22" clrIdx="6"/>
  <p:cmAuthor id="7" name="Microsoft Office User" initials="Office [2]" lastIdx="1" clrIdx="7"/>
  <p:cmAuthor id="8" name="Microsoft Office User" initials="Office [3]" lastIdx="1" clrIdx="8"/>
  <p:cmAuthor id="9" name="Microsoft Office User" initials="Office [4]" lastIdx="1" clrIdx="9"/>
  <p:cmAuthor id="10" name="Barmore" initials="B" lastIdx="1" clrIdx="10"/>
  <p:cmAuthor id="11" name="Barmore" initials="B [2]" lastIdx="1" clrIdx="11"/>
  <p:cmAuthor id="12" name="Barmore, Bryan E. (LARC-E1A)" initials="BBE(" lastIdx="17" clrIdx="12">
    <p:extLst>
      <p:ext uri="{19B8F6BF-5375-455C-9EA6-DF929625EA0E}">
        <p15:presenceInfo xmlns:p15="http://schemas.microsoft.com/office/powerpoint/2012/main" userId="S::bbarmore@ndc.nasa.gov::4beabd82-b657-4e66-af57-8f86d9082e93" providerId="AD"/>
      </p:ext>
    </p:extLst>
  </p:cmAuthor>
  <p:cmAuthor id="13" name="Thipphavong, David P. (ARC-AF)" initials="T(" lastIdx="2" clrIdx="13">
    <p:extLst>
      <p:ext uri="{19B8F6BF-5375-455C-9EA6-DF929625EA0E}">
        <p15:presenceInfo xmlns:p15="http://schemas.microsoft.com/office/powerpoint/2012/main" userId="S::dthippha@ndc.nasa.gov::d056579a-579d-45d5-b6fe-e6f370ccd6dd" providerId="AD"/>
      </p:ext>
    </p:extLst>
  </p:cmAuthor>
  <p:cmAuthor id="14" name="Ponthieux, Joseph G. (LARC-E1A)[LITES II]" initials="PJG(I" lastIdx="1" clrIdx="14">
    <p:extLst>
      <p:ext uri="{19B8F6BF-5375-455C-9EA6-DF929625EA0E}">
        <p15:presenceInfo xmlns:p15="http://schemas.microsoft.com/office/powerpoint/2012/main" userId="S-1-5-21-330711430-3775241029-4075259233-79436" providerId="AD"/>
      </p:ext>
    </p:extLst>
  </p:cmAuthor>
  <p:cmAuthor id="15" name="Madson, Mike D. (ARC-AT)" initials="M(" lastIdx="3" clrIdx="15">
    <p:extLst>
      <p:ext uri="{19B8F6BF-5375-455C-9EA6-DF929625EA0E}">
        <p15:presenceInfo xmlns:p15="http://schemas.microsoft.com/office/powerpoint/2012/main" userId="S::mmadson@ndc.nasa.gov::2e442acf-b8b4-4676-8ff7-0d6451e942ec" providerId="AD"/>
      </p:ext>
    </p:extLst>
  </p:cmAuthor>
  <p:cmAuthor id="16" name="Witzberger, Kevin E. (ARC-AF)" initials="W(" lastIdx="16" clrIdx="16">
    <p:extLst>
      <p:ext uri="{19B8F6BF-5375-455C-9EA6-DF929625EA0E}">
        <p15:presenceInfo xmlns:p15="http://schemas.microsoft.com/office/powerpoint/2012/main" userId="S::kwitzber@ndc.nasa.gov::2ba14412-69d9-4844-ac86-2e24ebe11360" providerId="AD"/>
      </p:ext>
    </p:extLst>
  </p:cmAuthor>
  <p:cmAuthor id="17" name="Chan, William N. (ARC-A)" initials="CWN(" lastIdx="21" clrIdx="17">
    <p:extLst>
      <p:ext uri="{19B8F6BF-5375-455C-9EA6-DF929625EA0E}">
        <p15:presenceInfo xmlns:p15="http://schemas.microsoft.com/office/powerpoint/2012/main" userId="S::wnchan@ndc.nasa.gov::7421d93b-0541-45f0-a714-c906104278d8" providerId="AD"/>
      </p:ext>
    </p:extLst>
  </p:cmAuthor>
  <p:cmAuthor id="18" name="Corzo, Roxana (ARC-AT)[WYLE LABS]" initials="CR(L" lastIdx="1" clrIdx="18">
    <p:extLst>
      <p:ext uri="{19B8F6BF-5375-455C-9EA6-DF929625EA0E}">
        <p15:presenceInfo xmlns:p15="http://schemas.microsoft.com/office/powerpoint/2012/main" userId="S-1-5-21-330711430-3775241029-4075259233-824768" providerId="AD"/>
      </p:ext>
    </p:extLst>
  </p:cmAuthor>
  <p:cmAuthor id="19" name="Rios, Joseph (ARC-AFO)" initials="R(" lastIdx="1" clrIdx="19">
    <p:extLst>
      <p:ext uri="{19B8F6BF-5375-455C-9EA6-DF929625EA0E}">
        <p15:presenceInfo xmlns:p15="http://schemas.microsoft.com/office/powerpoint/2012/main" userId="S::jlrios@ndc.nasa.gov::7b4eef8b-6a8b-4707-a865-be002eadede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C1D5"/>
    <a:srgbClr val="0432FF"/>
    <a:srgbClr val="9AB994"/>
    <a:srgbClr val="093D92"/>
    <a:srgbClr val="797979"/>
    <a:srgbClr val="E6F0FA"/>
    <a:srgbClr val="D6C1C8"/>
    <a:srgbClr val="D6AEBB"/>
    <a:srgbClr val="B994A0"/>
    <a:srgbClr val="B0F4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D5B485-08FF-46AC-BA64-AD33F8224823}" v="1" dt="2024-07-26T19:38:48.8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62"/>
    <p:restoredTop sz="94490"/>
  </p:normalViewPr>
  <p:slideViewPr>
    <p:cSldViewPr snapToGrid="0">
      <p:cViewPr varScale="1">
        <p:scale>
          <a:sx n="142" d="100"/>
          <a:sy n="142" d="100"/>
        </p:scale>
        <p:origin x="1278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tableStyles" Target="tableStyles.xml"/><Relationship Id="rId21" Type="http://schemas.openxmlformats.org/officeDocument/2006/relationships/slide" Target="slides/slide12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190339B-6983-DF45-B781-9B7D54483A06}" type="datetimeFigureOut">
              <a:rPr lang="en-US" smtClean="0"/>
              <a:pPr/>
              <a:t>7/2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2FFDBDF-EE2F-774D-9705-B4A8B4DF082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34805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722CE48-6344-447F-807F-0791761DCECF}" type="datetimeFigureOut">
              <a:rPr lang="en-US" smtClean="0"/>
              <a:pPr/>
              <a:t>7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F9FF2B9-9815-4E82-99A1-55DA67C6BCE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26067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95543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1653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5575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9642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0567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3616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1721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0371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0530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096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131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8456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82362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2306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449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540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0052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320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4663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2724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337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9918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331829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06352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189" lvl="0" indent="-342892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378" lvl="1" indent="-317492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566" lvl="2" indent="-317492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754" lvl="3" indent="-317492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5943" lvl="4" indent="-317492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132" lvl="5" indent="-317492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320" lvl="6" indent="-317492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509" lvl="7" indent="-317492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697" lvl="8" indent="-317492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5" name="Rectangle 4"/>
          <p:cNvSpPr/>
          <p:nvPr userDrawn="1"/>
        </p:nvSpPr>
        <p:spPr>
          <a:xfrm>
            <a:off x="0" y="4871260"/>
            <a:ext cx="9144000" cy="272240"/>
          </a:xfrm>
          <a:prstGeom prst="rect">
            <a:avLst/>
          </a:prstGeom>
          <a:solidFill>
            <a:srgbClr val="214A7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9830848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1364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9" y="0"/>
            <a:ext cx="8178080" cy="497880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818" y="611976"/>
            <a:ext cx="8642561" cy="42027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10234" y="4984648"/>
            <a:ext cx="733766" cy="159749"/>
          </a:xfrm>
        </p:spPr>
        <p:txBody>
          <a:bodyPr/>
          <a:lstStyle>
            <a:lvl1pPr>
              <a:defRPr sz="900"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4308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66691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9" y="0"/>
            <a:ext cx="7974503" cy="49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1351" y="685413"/>
            <a:ext cx="4294450" cy="390921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2351" y="685413"/>
            <a:ext cx="4294450" cy="390921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066801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ith Pre-Decisional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8" y="0"/>
            <a:ext cx="7978639" cy="49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549924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8" y="0"/>
            <a:ext cx="7978639" cy="49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301855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124958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8BAD5-6FF7-EA4B-B457-C11C3C85A7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F3B67-14EA-4B40-A974-5DC04A4F59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F8BC12-63B5-F146-AC6C-9DD503311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EBDDF6-28C4-5E42-B061-FBAAF57DD8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876AF6-F906-5844-98D2-CB70790A2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10F91-DA92-7C4E-B629-DF21F8E0BD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059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+mn-lt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/>
              </a:rPr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979FAD-3D35-5045-8D86-B5699BBA10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14795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818" y="720264"/>
            <a:ext cx="8642561" cy="3874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127791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211A655-D523-4CD1-AEDD-75E89B2B52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211A655-D523-4CD1-AEDD-75E89B2B52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C1AEAD5-9AE6-4BA1-ACC8-2B7989FD934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425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C2C78D-8C6F-4B55-9AAD-94F4F8347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04156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9" y="0"/>
            <a:ext cx="8178080" cy="497880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818" y="611976"/>
            <a:ext cx="8642561" cy="42027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10234" y="4984648"/>
            <a:ext cx="733766" cy="159749"/>
          </a:xfrm>
        </p:spPr>
        <p:txBody>
          <a:bodyPr/>
          <a:lstStyle>
            <a:lvl1pPr>
              <a:defRPr sz="900"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6991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789578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9" y="0"/>
            <a:ext cx="7974503" cy="49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1351" y="685413"/>
            <a:ext cx="4294450" cy="390921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2351" y="685413"/>
            <a:ext cx="4294450" cy="390921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052744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ith Pre-Decisional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8" y="0"/>
            <a:ext cx="7978639" cy="49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768909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8" y="0"/>
            <a:ext cx="7978639" cy="49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90230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632640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8BAD5-6FF7-EA4B-B457-C11C3C85A7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F3B67-14EA-4B40-A974-5DC04A4F59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F8BC12-63B5-F146-AC6C-9DD503311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EBDDF6-28C4-5E42-B061-FBAAF57DD8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876AF6-F906-5844-98D2-CB70790A2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10F91-DA92-7C4E-B629-DF21F8E0BD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5588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D23FC3-CE0D-164D-847C-49A4B9BB7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7280" y="4869657"/>
            <a:ext cx="361950" cy="273844"/>
          </a:xfrm>
        </p:spPr>
        <p:txBody>
          <a:bodyPr/>
          <a:lstStyle/>
          <a:p>
            <a:fld id="{4473F7C6-D9D9-AD4E-9564-E5A8DF5DC2F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2378C-0621-5E40-9363-2B77DB4DC7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557" y="815731"/>
            <a:ext cx="1753466" cy="1394222"/>
          </a:xfrm>
          <a:pattFill prst="pct2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A272D238-8A05-CE42-9CD7-A62634F918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57" y="2950388"/>
            <a:ext cx="1731611" cy="1048327"/>
          </a:xfrm>
          <a:prstGeom prst="rect">
            <a:avLst/>
          </a:prstGeom>
        </p:spPr>
      </p:pic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0EC05CE7-5E05-624B-8EC6-89D5C1CBE92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90277" y="815731"/>
            <a:ext cx="1753466" cy="1394222"/>
          </a:xfrm>
          <a:pattFill prst="pct2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0D40633-7ADF-CA41-9549-D6D0CA92CBA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96996" y="815731"/>
            <a:ext cx="1753466" cy="1394222"/>
          </a:xfrm>
          <a:pattFill prst="pct2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39682755-2552-4745-9D1C-DA52440D67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503715" y="815731"/>
            <a:ext cx="1753466" cy="1394222"/>
          </a:xfrm>
          <a:pattFill prst="pct2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9" name="Picture Placeholder 7">
            <a:extLst>
              <a:ext uri="{FF2B5EF4-FFF2-40B4-BE49-F238E27FC236}">
                <a16:creationId xmlns:a16="http://schemas.microsoft.com/office/drawing/2014/main" id="{0E9DE9B1-C444-E041-B4D9-5A77A6BEB99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310434" y="815731"/>
            <a:ext cx="1753466" cy="1394222"/>
          </a:xfrm>
          <a:pattFill prst="pct2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2CD0DABC-231D-1F4E-B935-02C1CB45F7F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881184" y="2812895"/>
            <a:ext cx="1753466" cy="1394222"/>
          </a:xfrm>
          <a:pattFill prst="pct2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5" name="Picture Placeholder 7">
            <a:extLst>
              <a:ext uri="{FF2B5EF4-FFF2-40B4-BE49-F238E27FC236}">
                <a16:creationId xmlns:a16="http://schemas.microsoft.com/office/drawing/2014/main" id="{380BEDCA-FB5E-CE41-B7E6-2D9A2C34811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690934" y="2812895"/>
            <a:ext cx="1753466" cy="1394222"/>
          </a:xfrm>
          <a:pattFill prst="pct2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A4D0052D-C387-B047-8AAA-1F518E9968F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500684" y="2812895"/>
            <a:ext cx="1753466" cy="1394222"/>
          </a:xfrm>
          <a:pattFill prst="pct2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1" name="Picture Placeholder 7">
            <a:extLst>
              <a:ext uri="{FF2B5EF4-FFF2-40B4-BE49-F238E27FC236}">
                <a16:creationId xmlns:a16="http://schemas.microsoft.com/office/drawing/2014/main" id="{2BE96391-65E0-4340-8D84-E70ABB126B2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310434" y="2812895"/>
            <a:ext cx="1753466" cy="1394222"/>
          </a:xfrm>
          <a:pattFill prst="pct2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D16F79E-4B2F-7943-A3D9-A02FDAA758C3}"/>
              </a:ext>
            </a:extLst>
          </p:cNvPr>
          <p:cNvCxnSpPr/>
          <p:nvPr userDrawn="1"/>
        </p:nvCxnSpPr>
        <p:spPr bwMode="auto">
          <a:xfrm>
            <a:off x="722950" y="484532"/>
            <a:ext cx="8313632" cy="0"/>
          </a:xfrm>
          <a:prstGeom prst="line">
            <a:avLst/>
          </a:prstGeom>
          <a:solidFill>
            <a:schemeClr val="accent1"/>
          </a:solidFill>
          <a:ln w="38100" cap="flat" cmpd="sng" algn="ctr">
            <a:gradFill flip="none" rotWithShape="1">
              <a:gsLst>
                <a:gs pos="26000">
                  <a:srgbClr val="0F68B5"/>
                </a:gs>
                <a:gs pos="0">
                  <a:srgbClr val="0F68B5"/>
                </a:gs>
                <a:gs pos="53000">
                  <a:schemeClr val="accent1">
                    <a:lumMod val="45000"/>
                    <a:lumOff val="5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99000">
                  <a:schemeClr val="bg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4" name="Picture 13" descr="NASA insigniaCMYK">
            <a:extLst>
              <a:ext uri="{FF2B5EF4-FFF2-40B4-BE49-F238E27FC236}">
                <a16:creationId xmlns:a16="http://schemas.microsoft.com/office/drawing/2014/main" id="{D807FC00-0765-EF48-BE93-BAEA070763A7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89" y="33416"/>
            <a:ext cx="583406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5" name="Title 1">
            <a:extLst>
              <a:ext uri="{FF2B5EF4-FFF2-40B4-BE49-F238E27FC236}">
                <a16:creationId xmlns:a16="http://schemas.microsoft.com/office/drawing/2014/main" id="{8F26D2EF-8B32-8340-AEB2-53B3DAA07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299" y="0"/>
            <a:ext cx="7974503" cy="497880"/>
          </a:xfrm>
        </p:spPr>
        <p:txBody>
          <a:bodyPr>
            <a:normAutofit/>
          </a:bodyPr>
          <a:lstStyle>
            <a:lvl1pPr algn="ctr">
              <a:defRPr sz="2100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34606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9" y="123000"/>
            <a:ext cx="7974503" cy="37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1351" y="685413"/>
            <a:ext cx="4294450" cy="390921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2351" y="685413"/>
            <a:ext cx="4294450" cy="390921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944309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9" y="0"/>
            <a:ext cx="8178080" cy="497880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818" y="611976"/>
            <a:ext cx="8642561" cy="42027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10234" y="4984648"/>
            <a:ext cx="733766" cy="159749"/>
          </a:xfrm>
        </p:spPr>
        <p:txBody>
          <a:bodyPr/>
          <a:lstStyle>
            <a:lvl1pPr>
              <a:defRPr sz="900"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386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182141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9" y="0"/>
            <a:ext cx="7974503" cy="49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1351" y="685413"/>
            <a:ext cx="4294450" cy="390921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2351" y="685413"/>
            <a:ext cx="4294450" cy="390921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318650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ith Pre-Decisional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8" y="0"/>
            <a:ext cx="7978639" cy="49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521930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8" y="0"/>
            <a:ext cx="7978639" cy="49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00259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26961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818" y="720264"/>
            <a:ext cx="8642561" cy="3874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354149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8BAD5-6FF7-EA4B-B457-C11C3C85A7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F3B67-14EA-4B40-A974-5DC04A4F59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F8BC12-63B5-F146-AC6C-9DD503311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EBDDF6-28C4-5E42-B061-FBAAF57DD8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876AF6-F906-5844-98D2-CB70790A2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10F91-DA92-7C4E-B629-DF21F8E0BD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9469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8B3B356-3D30-8C41-86AC-74ED2FF7A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585137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 sz="1200" i="1">
                <a:solidFill>
                  <a:prstClr val="black"/>
                </a:solidFill>
                <a:latin typeface="Arial" pitchFamily="-109" charset="0"/>
                <a:ea typeface="Arial" pitchFamily="-109" charset="0"/>
                <a:cs typeface="Arial" pitchFamily="-109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8191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8" y="123000"/>
            <a:ext cx="8178080" cy="374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817" y="720264"/>
            <a:ext cx="8642561" cy="38743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859145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8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51169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8" y="123000"/>
            <a:ext cx="7974503" cy="374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1351" y="685413"/>
            <a:ext cx="4294450" cy="390921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2351" y="685413"/>
            <a:ext cx="4294450" cy="390921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670157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ith Pre-Decisional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7" y="123000"/>
            <a:ext cx="7978639" cy="374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6CED60-BF19-2E4E-831F-766567676015}"/>
              </a:ext>
            </a:extLst>
          </p:cNvPr>
          <p:cNvSpPr txBox="1"/>
          <p:nvPr userDrawn="1"/>
        </p:nvSpPr>
        <p:spPr>
          <a:xfrm>
            <a:off x="1454568" y="4904854"/>
            <a:ext cx="62216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FF0000"/>
                </a:solidFill>
              </a:rPr>
              <a:t>DRAFT. PRE-DECISIONAL. NASA INTERNAL ONLY.</a:t>
            </a:r>
          </a:p>
        </p:txBody>
      </p:sp>
    </p:spTree>
    <p:extLst>
      <p:ext uri="{BB962C8B-B14F-4D97-AF65-F5344CB8AC3E}">
        <p14:creationId xmlns:p14="http://schemas.microsoft.com/office/powerpoint/2010/main" val="4211320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97" y="123000"/>
            <a:ext cx="7978639" cy="374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latin typeface="+mn-lt"/>
              </a:defRPr>
            </a:lvl1pPr>
          </a:lstStyle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77343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12" Type="http://schemas.microsoft.com/office/2007/relationships/hdphoto" Target="../media/hdphoto3.wdp"/><Relationship Id="rId17" Type="http://schemas.openxmlformats.org/officeDocument/2006/relationships/image" Target="../media/image9.tif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11" Type="http://schemas.openxmlformats.org/officeDocument/2006/relationships/image" Target="../media/image5.png"/><Relationship Id="rId5" Type="http://schemas.openxmlformats.org/officeDocument/2006/relationships/image" Target="../media/image1.png"/><Relationship Id="rId15" Type="http://schemas.openxmlformats.org/officeDocument/2006/relationships/image" Target="../media/image7.png"/><Relationship Id="rId10" Type="http://schemas.openxmlformats.org/officeDocument/2006/relationships/image" Target="../media/image4.tiff"/><Relationship Id="rId4" Type="http://schemas.openxmlformats.org/officeDocument/2006/relationships/theme" Target="../theme/theme1.xml"/><Relationship Id="rId9" Type="http://schemas.openxmlformats.org/officeDocument/2006/relationships/image" Target="../media/image3.png"/><Relationship Id="rId14" Type="http://schemas.microsoft.com/office/2007/relationships/hdphoto" Target="../media/hdphoto4.wdp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iff"/><Relationship Id="rId13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microsoft.com/office/2007/relationships/hdphoto" Target="../media/hdphoto6.wdp"/><Relationship Id="rId11" Type="http://schemas.openxmlformats.org/officeDocument/2006/relationships/image" Target="../media/image7.png"/><Relationship Id="rId5" Type="http://schemas.openxmlformats.org/officeDocument/2006/relationships/image" Target="../media/image2.png"/><Relationship Id="rId15" Type="http://schemas.openxmlformats.org/officeDocument/2006/relationships/image" Target="../media/image9.tiff"/><Relationship Id="rId10" Type="http://schemas.microsoft.com/office/2007/relationships/hdphoto" Target="../media/hdphoto7.wdp"/><Relationship Id="rId4" Type="http://schemas.microsoft.com/office/2007/relationships/hdphoto" Target="../media/hdphoto5.wdp"/><Relationship Id="rId9" Type="http://schemas.openxmlformats.org/officeDocument/2006/relationships/image" Target="../media/image5.png"/><Relationship Id="rId14" Type="http://schemas.microsoft.com/office/2007/relationships/hdphoto" Target="../media/hdphoto8.wdp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8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33.xml"/><Relationship Id="rId9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lide_sky.jpg"/>
          <p:cNvPicPr>
            <a:picLocks noChangeAspect="1"/>
          </p:cNvPicPr>
          <p:nvPr userDrawn="1"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957" y="4"/>
            <a:ext cx="9150959" cy="59556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email">
            <a:lum bright="70000" contrast="-70000"/>
            <a:alphaModFix amt="44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0"/>
            <a:ext cx="1524000" cy="6858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 cstate="screen">
            <a:lum bright="70000" contrast="-70000"/>
            <a:alphaModFix amt="4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00" y="171450"/>
            <a:ext cx="1158240" cy="54292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0800" y="165515"/>
            <a:ext cx="553402" cy="415052"/>
          </a:xfrm>
          <a:prstGeom prst="rect">
            <a:avLst/>
          </a:prstGeom>
        </p:spPr>
      </p:pic>
      <p:pic>
        <p:nvPicPr>
          <p:cNvPr id="20" name="Content Placeholder 3"/>
          <p:cNvPicPr>
            <a:picLocks noChangeAspect="1"/>
          </p:cNvPicPr>
          <p:nvPr userDrawn="1"/>
        </p:nvPicPr>
        <p:blipFill>
          <a:blip r:embed="rId11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47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3250" r="96000">
                        <a14:foregroundMark x1="15750" y1="38500" x2="15750" y2="38500"/>
                        <a14:foregroundMark x1="15750" y1="38500" x2="15750" y2="38500"/>
                        <a14:foregroundMark x1="19375" y1="36500" x2="19375" y2="36500"/>
                        <a14:foregroundMark x1="15500" y1="27833" x2="15500" y2="27833"/>
                        <a14:foregroundMark x1="7250" y1="26833" x2="7250" y2="26833"/>
                        <a14:backgroundMark x1="65375" y1="75333" x2="65375" y2="75333"/>
                        <a14:backgroundMark x1="62250" y1="68333" x2="62250" y2="68333"/>
                        <a14:backgroundMark x1="69375" y1="62333" x2="69375" y2="62333"/>
                        <a14:backgroundMark x1="50750" y1="67333" x2="50750" y2="67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4114" y="171450"/>
            <a:ext cx="753981" cy="424115"/>
          </a:xfrm>
          <a:prstGeom prst="rect">
            <a:avLst/>
          </a:prstGeom>
        </p:spPr>
      </p:pic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3721" y="75280"/>
            <a:ext cx="8229600" cy="45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068" y="102374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854845" y="4980995"/>
            <a:ext cx="319319" cy="207749"/>
          </a:xfrm>
          <a:prstGeom prst="rect">
            <a:avLst/>
          </a:prstGeom>
          <a:noFill/>
        </p:spPr>
        <p:txBody>
          <a:bodyPr wrap="none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>
                <a:solidFill>
                  <a:prstClr val="black"/>
                </a:solidFill>
                <a:latin typeface="Calibri" charset="0"/>
                <a:cs typeface="Arial" charset="0"/>
              </a:rPr>
              <a:t> </a:t>
            </a:r>
            <a:fld id="{D44AAE72-5488-4E80-8FD1-D7DF62C285B2}" type="slidenum">
              <a:rPr lang="en-US" sz="750">
                <a:solidFill>
                  <a:prstClr val="black"/>
                </a:solidFill>
                <a:latin typeface="Calibri" charset="0"/>
                <a:cs typeface="Arial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50">
              <a:solidFill>
                <a:prstClr val="black"/>
              </a:solidFill>
              <a:latin typeface="Calibri" charset="0"/>
              <a:cs typeface="Arial" charset="0"/>
            </a:endParaRPr>
          </a:p>
        </p:txBody>
      </p:sp>
      <p:pic>
        <p:nvPicPr>
          <p:cNvPr id="11" name="Picture 10" descr="slide_sky.jpg"/>
          <p:cNvPicPr>
            <a:picLocks noChangeAspect="1"/>
          </p:cNvPicPr>
          <p:nvPr userDrawn="1"/>
        </p:nvPicPr>
        <p:blipFill>
          <a:blip r:embed="rId13" cstate="email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914900"/>
            <a:ext cx="9150959" cy="2286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9" name="Slide Number Placeholder 3"/>
          <p:cNvSpPr txBox="1">
            <a:spLocks/>
          </p:cNvSpPr>
          <p:nvPr userDrawn="1"/>
        </p:nvSpPr>
        <p:spPr>
          <a:xfrm>
            <a:off x="6457950" y="4869657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887866-80AC-2F42-9AD1-8EE3C236D8D8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 cstate="email">
            <a:lum bright="70000" contrast="-70000"/>
            <a:alphaModFix amt="5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1" y="171450"/>
            <a:ext cx="853917" cy="434697"/>
          </a:xfrm>
          <a:prstGeom prst="rect">
            <a:avLst/>
          </a:prstGeom>
          <a:effectLst/>
          <a:scene3d>
            <a:camera prst="orthographicFront">
              <a:rot lat="0" lon="9000000" rev="0"/>
            </a:camera>
            <a:lightRig rig="threePt" dir="t"/>
          </a:scene3d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6" cstate="screen">
            <a:lum bright="70000" contrast="-70000"/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2600" y="-26799"/>
            <a:ext cx="762000" cy="5715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A694353-5638-2F4E-ABCC-11BE269004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4585137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 sz="1200" i="1">
                <a:solidFill>
                  <a:prstClr val="black"/>
                </a:solidFill>
                <a:latin typeface="Arial" pitchFamily="-109" charset="0"/>
                <a:ea typeface="Arial" pitchFamily="-109" charset="0"/>
                <a:cs typeface="Arial" pitchFamily="-109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2A75FD5-14A8-D442-B00A-5F22AEDDD5D9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96" y="7185"/>
            <a:ext cx="670021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491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753" r:id="rId2"/>
    <p:sldLayoutId id="2147483754" r:id="rId3"/>
  </p:sldLayoutIdLst>
  <p:hf sldNum="0" hdr="0" ftr="0" dt="0"/>
  <p:txStyles>
    <p:titleStyle>
      <a:lvl1pPr algn="ctr" defTabSz="342900" rtl="0" eaLnBrk="1" fontAlgn="base" hangingPunct="1">
        <a:spcBef>
          <a:spcPct val="0"/>
        </a:spcBef>
        <a:spcAft>
          <a:spcPct val="0"/>
        </a:spcAft>
        <a:defRPr lang="en-US" sz="2100" b="1" kern="1200" dirty="0">
          <a:solidFill>
            <a:srgbClr val="FFFFFF"/>
          </a:solidFill>
          <a:effectLst>
            <a:outerShdw blurRad="114300" dist="88900" dir="2700000" algn="tl" rotWithShape="0">
              <a:prstClr val="black">
                <a:alpha val="75000"/>
              </a:prstClr>
            </a:outerShdw>
          </a:effectLst>
          <a:latin typeface="Arial" charset="0"/>
          <a:ea typeface="+mj-ea"/>
          <a:cs typeface="ＭＳ Ｐゴシック"/>
        </a:defRPr>
      </a:lvl1pPr>
      <a:lvl2pPr algn="ctr" defTabSz="3429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0090"/>
          </a:solidFill>
          <a:latin typeface="Arial" charset="0"/>
          <a:ea typeface="ＭＳ Ｐゴシック" pitchFamily="28" charset="-128"/>
          <a:cs typeface="ＭＳ Ｐゴシック"/>
        </a:defRPr>
      </a:lvl2pPr>
      <a:lvl3pPr algn="ctr" defTabSz="3429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0090"/>
          </a:solidFill>
          <a:latin typeface="Arial" charset="0"/>
          <a:ea typeface="ＭＳ Ｐゴシック" pitchFamily="28" charset="-128"/>
          <a:cs typeface="ＭＳ Ｐゴシック"/>
        </a:defRPr>
      </a:lvl3pPr>
      <a:lvl4pPr algn="ctr" defTabSz="3429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0090"/>
          </a:solidFill>
          <a:latin typeface="Arial" charset="0"/>
          <a:ea typeface="ＭＳ Ｐゴシック" pitchFamily="28" charset="-128"/>
          <a:cs typeface="ＭＳ Ｐゴシック"/>
        </a:defRPr>
      </a:lvl4pPr>
      <a:lvl5pPr algn="ctr" defTabSz="3429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0090"/>
          </a:solidFill>
          <a:latin typeface="Arial" charset="0"/>
          <a:ea typeface="ＭＳ Ｐゴシック" pitchFamily="28" charset="-128"/>
          <a:cs typeface="ＭＳ Ｐゴシック"/>
        </a:defRPr>
      </a:lvl5pPr>
      <a:lvl6pPr marL="3429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Arial" charset="0"/>
          <a:ea typeface="+mn-ea"/>
          <a:cs typeface="ＭＳ Ｐゴシック"/>
        </a:defRPr>
      </a:lvl1pPr>
      <a:lvl2pPr marL="557213" indent="-214313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Arial" charset="0"/>
          <a:ea typeface="ＭＳ Ｐゴシック"/>
          <a:cs typeface="ＭＳ Ｐゴシック"/>
        </a:defRPr>
      </a:lvl2pPr>
      <a:lvl3pPr marL="8572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Arial" charset="0"/>
          <a:ea typeface="ＭＳ Ｐゴシック"/>
          <a:cs typeface="ＭＳ Ｐゴシック"/>
        </a:defRPr>
      </a:lvl3pPr>
      <a:lvl4pPr marL="12001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charset="0"/>
          <a:ea typeface="ＭＳ Ｐゴシック"/>
          <a:cs typeface="ＭＳ Ｐゴシック"/>
        </a:defRPr>
      </a:lvl4pPr>
      <a:lvl5pPr marL="15430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Arial" charset="0"/>
          <a:ea typeface="ＭＳ Ｐゴシック"/>
          <a:cs typeface="ＭＳ Ｐゴシック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lide_sky.jpg"/>
          <p:cNvPicPr>
            <a:picLocks noChangeAspect="1"/>
          </p:cNvPicPr>
          <p:nvPr userDrawn="1"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958" y="3"/>
            <a:ext cx="9150959" cy="59556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 cstate="email">
            <a:lum bright="70000" contrast="-70000"/>
            <a:alphaModFix amt="44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0"/>
            <a:ext cx="1524000" cy="6858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lum bright="70000" contrast="-70000"/>
            <a:alphaModFix amt="4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00" y="171450"/>
            <a:ext cx="1158240" cy="54292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0800" y="165515"/>
            <a:ext cx="553402" cy="415052"/>
          </a:xfrm>
          <a:prstGeom prst="rect">
            <a:avLst/>
          </a:prstGeom>
        </p:spPr>
      </p:pic>
      <p:pic>
        <p:nvPicPr>
          <p:cNvPr id="23" name="Content Placeholder 3"/>
          <p:cNvPicPr>
            <a:picLocks noChangeAspect="1"/>
          </p:cNvPicPr>
          <p:nvPr userDrawn="1"/>
        </p:nvPicPr>
        <p:blipFill>
          <a:blip r:embed="rId9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47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3250" r="96000">
                        <a14:foregroundMark x1="15750" y1="38500" x2="15750" y2="38500"/>
                        <a14:foregroundMark x1="15750" y1="38500" x2="15750" y2="38500"/>
                        <a14:foregroundMark x1="19375" y1="36500" x2="19375" y2="36500"/>
                        <a14:foregroundMark x1="15500" y1="27833" x2="15500" y2="27833"/>
                        <a14:foregroundMark x1="7250" y1="26833" x2="7250" y2="26833"/>
                        <a14:backgroundMark x1="65375" y1="75333" x2="65375" y2="75333"/>
                        <a14:backgroundMark x1="62250" y1="68333" x2="62250" y2="68333"/>
                        <a14:backgroundMark x1="69375" y1="62333" x2="69375" y2="62333"/>
                        <a14:backgroundMark x1="50750" y1="67333" x2="50750" y2="67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4114" y="171450"/>
            <a:ext cx="753981" cy="42411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11" cstate="email">
            <a:lum bright="70000" contrast="-70000"/>
            <a:alphaModFix amt="5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1" y="171450"/>
            <a:ext cx="853917" cy="434697"/>
          </a:xfrm>
          <a:prstGeom prst="rect">
            <a:avLst/>
          </a:prstGeom>
          <a:effectLst/>
          <a:scene3d>
            <a:camera prst="orthographicFront">
              <a:rot lat="0" lon="9000000" rev="0"/>
            </a:camera>
            <a:lightRig rig="threePt" dir="t"/>
          </a:scene3d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 cstate="screen">
            <a:lum bright="70000" contrast="-70000"/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2600" y="-26799"/>
            <a:ext cx="762000" cy="571500"/>
          </a:xfrm>
          <a:prstGeom prst="rect">
            <a:avLst/>
          </a:prstGeom>
          <a:noFill/>
          <a:ln>
            <a:noFill/>
          </a:ln>
        </p:spPr>
      </p:pic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068" y="1023740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854845" y="4980995"/>
            <a:ext cx="319318" cy="207749"/>
          </a:xfrm>
          <a:prstGeom prst="rect">
            <a:avLst/>
          </a:prstGeom>
          <a:noFill/>
        </p:spPr>
        <p:txBody>
          <a:bodyPr wrap="none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>
                <a:solidFill>
                  <a:prstClr val="black"/>
                </a:solidFill>
                <a:latin typeface="Calibri" charset="0"/>
                <a:cs typeface="Arial" charset="0"/>
              </a:rPr>
              <a:t> </a:t>
            </a:r>
            <a:fld id="{D44AAE72-5488-4E80-8FD1-D7DF62C285B2}" type="slidenum">
              <a:rPr lang="en-US" sz="750">
                <a:solidFill>
                  <a:prstClr val="black"/>
                </a:solidFill>
                <a:latin typeface="Calibri" charset="0"/>
                <a:cs typeface="Arial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50">
              <a:solidFill>
                <a:prstClr val="black"/>
              </a:solidFill>
              <a:latin typeface="Calibri" charset="0"/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327395" y="4977424"/>
            <a:ext cx="814647" cy="207749"/>
          </a:xfrm>
          <a:prstGeom prst="rect">
            <a:avLst/>
          </a:prstGeom>
          <a:noFill/>
        </p:spPr>
        <p:txBody>
          <a:bodyPr wrap="none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b="1" dirty="0">
                <a:solidFill>
                  <a:srgbClr val="FF0000"/>
                </a:solidFill>
                <a:latin typeface="Calibri" pitchFamily="-109" charset="0"/>
              </a:rPr>
              <a:t>For NASA   Only</a:t>
            </a:r>
          </a:p>
        </p:txBody>
      </p:sp>
      <p:pic>
        <p:nvPicPr>
          <p:cNvPr id="11" name="Picture 10" descr="slide_sky.jpg"/>
          <p:cNvPicPr>
            <a:picLocks noChangeAspect="1"/>
          </p:cNvPicPr>
          <p:nvPr userDrawn="1"/>
        </p:nvPicPr>
        <p:blipFill>
          <a:blip r:embed="rId13" cstate="email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914900"/>
            <a:ext cx="9150959" cy="2286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9" name="Slide Number Placeholder 3"/>
          <p:cNvSpPr txBox="1">
            <a:spLocks/>
          </p:cNvSpPr>
          <p:nvPr userDrawn="1"/>
        </p:nvSpPr>
        <p:spPr>
          <a:xfrm>
            <a:off x="6457950" y="4869657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887866-80AC-2F42-9AD1-8EE3C236D8D8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3721" y="75280"/>
            <a:ext cx="8229600" cy="45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eaLnBrk="1" hangingPunct="1"/>
            <a:r>
              <a:rPr lang="en-US" altLang="en-US"/>
              <a:t>Click to edit Master title sty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4C21D5A-6322-7746-9045-12CA0E7F63F0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96" y="7185"/>
            <a:ext cx="670021" cy="548640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4A7E43C-977A-D44E-AB80-693E883D5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4585137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 sz="1200" i="1">
                <a:solidFill>
                  <a:prstClr val="black"/>
                </a:solidFill>
                <a:latin typeface="Arial" pitchFamily="-109" charset="0"/>
                <a:ea typeface="Arial" pitchFamily="-109" charset="0"/>
                <a:cs typeface="Arial" pitchFamily="-109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846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sldNum="0" hdr="0" ftr="0" dt="0"/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lang="en-US" altLang="en-US" sz="2100" b="1" kern="1200" dirty="0">
          <a:solidFill>
            <a:srgbClr val="FFFFFF"/>
          </a:solidFill>
          <a:effectLst>
            <a:outerShdw blurRad="114300" dist="88900" dir="2700000" algn="tl" rotWithShape="0">
              <a:prstClr val="black">
                <a:alpha val="75000"/>
              </a:prstClr>
            </a:outerShdw>
          </a:effectLst>
          <a:latin typeface="Arial" charset="0"/>
          <a:ea typeface="+mj-ea"/>
          <a:cs typeface="ＭＳ Ｐゴシック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000090"/>
          </a:solidFill>
          <a:latin typeface="Arial" charset="0"/>
          <a:ea typeface="ＭＳ Ｐゴシック" pitchFamily="28" charset="-128"/>
          <a:cs typeface="ＭＳ Ｐゴシック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000090"/>
          </a:solidFill>
          <a:latin typeface="Arial" charset="0"/>
          <a:ea typeface="ＭＳ Ｐゴシック" pitchFamily="28" charset="-128"/>
          <a:cs typeface="ＭＳ Ｐゴシック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000090"/>
          </a:solidFill>
          <a:latin typeface="Arial" charset="0"/>
          <a:ea typeface="ＭＳ Ｐゴシック" pitchFamily="28" charset="-128"/>
          <a:cs typeface="ＭＳ Ｐゴシック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000090"/>
          </a:solidFill>
          <a:latin typeface="Arial" charset="0"/>
          <a:ea typeface="ＭＳ Ｐゴシック" pitchFamily="28" charset="-128"/>
          <a:cs typeface="ＭＳ Ｐゴシック"/>
        </a:defRPr>
      </a:lvl5pPr>
      <a:lvl6pPr marL="3429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Arial" charset="0"/>
          <a:ea typeface="+mn-ea"/>
          <a:cs typeface="ＭＳ Ｐゴシック"/>
        </a:defRPr>
      </a:lvl1pPr>
      <a:lvl2pPr marL="557213" indent="-214313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Arial" charset="0"/>
          <a:ea typeface="ＭＳ Ｐゴシック"/>
          <a:cs typeface="ＭＳ Ｐゴシック"/>
        </a:defRPr>
      </a:lvl2pPr>
      <a:lvl3pPr marL="8572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Arial" charset="0"/>
          <a:ea typeface="ＭＳ Ｐゴシック"/>
          <a:cs typeface="ＭＳ Ｐゴシック"/>
        </a:defRPr>
      </a:lvl3pPr>
      <a:lvl4pPr marL="12001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charset="0"/>
          <a:ea typeface="ＭＳ Ｐゴシック"/>
          <a:cs typeface="ＭＳ Ｐゴシック"/>
        </a:defRPr>
      </a:lvl4pPr>
      <a:lvl5pPr marL="15430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Arial" charset="0"/>
          <a:ea typeface="ＭＳ Ｐゴシック"/>
          <a:cs typeface="ＭＳ Ｐゴシック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2950" y="123000"/>
            <a:ext cx="8167428" cy="3748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817" y="592476"/>
            <a:ext cx="8642561" cy="40021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10234" y="4814728"/>
            <a:ext cx="7337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900"/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3429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55597" y="4797889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900"/>
            <a:endParaRPr lang="en-US" sz="135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722950" y="484532"/>
            <a:ext cx="8313632" cy="0"/>
          </a:xfrm>
          <a:prstGeom prst="line">
            <a:avLst/>
          </a:prstGeom>
          <a:solidFill>
            <a:schemeClr val="accent1"/>
          </a:solidFill>
          <a:ln w="38100" cap="flat" cmpd="sng" algn="ctr">
            <a:gradFill flip="none" rotWithShape="1">
              <a:gsLst>
                <a:gs pos="26000">
                  <a:srgbClr val="0F68B5"/>
                </a:gs>
                <a:gs pos="0">
                  <a:srgbClr val="0F68B5"/>
                </a:gs>
                <a:gs pos="53000">
                  <a:schemeClr val="accent1">
                    <a:lumMod val="45000"/>
                    <a:lumOff val="5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99000">
                  <a:schemeClr val="bg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3" descr="NASA insigniaCMYK"/>
          <p:cNvPicPr preferRelativeResize="0"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88" y="33416"/>
            <a:ext cx="583406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29892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</p:sldLayoutIdLst>
  <p:hf sldNum="0" hdr="0" ftr="0" dt="0"/>
  <p:txStyles>
    <p:titleStyle>
      <a:lvl1pPr algn="ctr" defTabSz="342900" rtl="0" eaLnBrk="1" latinLnBrk="0" hangingPunct="1">
        <a:lnSpc>
          <a:spcPct val="80000"/>
        </a:lnSpc>
        <a:spcBef>
          <a:spcPct val="0"/>
        </a:spcBef>
        <a:buNone/>
        <a:defRPr sz="24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8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2950" y="0"/>
            <a:ext cx="8167428" cy="4978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818" y="592476"/>
            <a:ext cx="8642561" cy="42054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10234" y="4941405"/>
            <a:ext cx="733766" cy="1983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2"/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342892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55598" y="4797889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/>
            <a:endParaRPr lang="en-US" sz="135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722950" y="484532"/>
            <a:ext cx="8313632" cy="0"/>
          </a:xfrm>
          <a:prstGeom prst="line">
            <a:avLst/>
          </a:prstGeom>
          <a:solidFill>
            <a:schemeClr val="accent1"/>
          </a:solidFill>
          <a:ln w="38100" cap="flat" cmpd="sng" algn="ctr">
            <a:gradFill flip="none" rotWithShape="1">
              <a:gsLst>
                <a:gs pos="26000">
                  <a:srgbClr val="0F68B5"/>
                </a:gs>
                <a:gs pos="0">
                  <a:srgbClr val="0F68B5"/>
                </a:gs>
                <a:gs pos="53000">
                  <a:schemeClr val="accent1">
                    <a:lumMod val="45000"/>
                    <a:lumOff val="5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99000">
                  <a:schemeClr val="bg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3" descr="NASA insigniaCMYK"/>
          <p:cNvPicPr preferRelativeResize="0"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89" y="33416"/>
            <a:ext cx="583406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3EFCDB2-FC7C-9942-8879-D1B9EA786225}"/>
              </a:ext>
            </a:extLst>
          </p:cNvPr>
          <p:cNvSpPr/>
          <p:nvPr userDrawn="1"/>
        </p:nvSpPr>
        <p:spPr>
          <a:xfrm>
            <a:off x="3418431" y="5002243"/>
            <a:ext cx="2776466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" b="0" i="0" dirty="0">
                <a:solidFill>
                  <a:srgbClr val="FF0000"/>
                </a:solidFill>
                <a:effectLst/>
                <a:latin typeface="Arial Black" panose="020B0604020202020204" pitchFamily="34" charset="0"/>
              </a:rPr>
              <a:t>NASA Pre-Decisional / FOR   ONLY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3878298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</p:sldLayoutIdLst>
  <p:hf hdr="0" ftr="0" dt="0"/>
  <p:txStyles>
    <p:titleStyle>
      <a:lvl1pPr algn="ctr" defTabSz="342892" rtl="0" eaLnBrk="1" latinLnBrk="0" hangingPunct="1">
        <a:lnSpc>
          <a:spcPct val="8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34289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342892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342892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342892" rtl="0" eaLnBrk="1" latinLnBrk="0" hangingPunct="1">
        <a:spcBef>
          <a:spcPct val="20000"/>
        </a:spcBef>
        <a:buFont typeface="Arial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342892" rtl="0" eaLnBrk="1" latinLnBrk="0" hangingPunct="1">
        <a:spcBef>
          <a:spcPct val="20000"/>
        </a:spcBef>
        <a:buFont typeface="Arial"/>
        <a:buChar char="»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2950" y="0"/>
            <a:ext cx="8167428" cy="4978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818" y="592476"/>
            <a:ext cx="8642561" cy="42054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10234" y="4941405"/>
            <a:ext cx="733766" cy="1983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2"/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342892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55598" y="4797889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/>
            <a:endParaRPr lang="en-US" sz="135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722950" y="484532"/>
            <a:ext cx="8313632" cy="0"/>
          </a:xfrm>
          <a:prstGeom prst="line">
            <a:avLst/>
          </a:prstGeom>
          <a:solidFill>
            <a:schemeClr val="accent1"/>
          </a:solidFill>
          <a:ln w="38100" cap="flat" cmpd="sng" algn="ctr">
            <a:gradFill flip="none" rotWithShape="1">
              <a:gsLst>
                <a:gs pos="26000">
                  <a:srgbClr val="0F68B5"/>
                </a:gs>
                <a:gs pos="0">
                  <a:srgbClr val="0F68B5"/>
                </a:gs>
                <a:gs pos="53000">
                  <a:schemeClr val="accent1">
                    <a:lumMod val="45000"/>
                    <a:lumOff val="5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99000">
                  <a:schemeClr val="bg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3" descr="NASA insigniaCMYK"/>
          <p:cNvPicPr preferRelativeResize="0"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89" y="33416"/>
            <a:ext cx="583406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77529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</p:sldLayoutIdLst>
  <p:hf hdr="0" ftr="0" dt="0"/>
  <p:txStyles>
    <p:titleStyle>
      <a:lvl1pPr algn="ctr" defTabSz="342892" rtl="0" eaLnBrk="1" latinLnBrk="0" hangingPunct="1">
        <a:lnSpc>
          <a:spcPct val="8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34289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342892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342892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342892" rtl="0" eaLnBrk="1" latinLnBrk="0" hangingPunct="1">
        <a:spcBef>
          <a:spcPct val="20000"/>
        </a:spcBef>
        <a:buFont typeface="Arial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342892" rtl="0" eaLnBrk="1" latinLnBrk="0" hangingPunct="1">
        <a:spcBef>
          <a:spcPct val="20000"/>
        </a:spcBef>
        <a:buFont typeface="Arial"/>
        <a:buChar char="»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2950" y="0"/>
            <a:ext cx="8167428" cy="4978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818" y="592476"/>
            <a:ext cx="8642561" cy="42054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10234" y="4941405"/>
            <a:ext cx="733766" cy="1983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2"/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342892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55598" y="4797889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/>
            <a:endParaRPr lang="en-US" sz="135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722950" y="484532"/>
            <a:ext cx="8313632" cy="0"/>
          </a:xfrm>
          <a:prstGeom prst="line">
            <a:avLst/>
          </a:prstGeom>
          <a:solidFill>
            <a:schemeClr val="accent1"/>
          </a:solidFill>
          <a:ln w="38100" cap="flat" cmpd="sng" algn="ctr">
            <a:gradFill flip="none" rotWithShape="1">
              <a:gsLst>
                <a:gs pos="26000">
                  <a:srgbClr val="0F68B5"/>
                </a:gs>
                <a:gs pos="0">
                  <a:srgbClr val="0F68B5"/>
                </a:gs>
                <a:gs pos="53000">
                  <a:schemeClr val="accent1">
                    <a:lumMod val="45000"/>
                    <a:lumOff val="5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99000">
                  <a:schemeClr val="bg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3" descr="NASA insigniaCMYK"/>
          <p:cNvPicPr preferRelativeResize="0"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89" y="33416"/>
            <a:ext cx="583406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3EFCDB2-FC7C-9942-8879-D1B9EA786225}"/>
              </a:ext>
            </a:extLst>
          </p:cNvPr>
          <p:cNvSpPr/>
          <p:nvPr userDrawn="1"/>
        </p:nvSpPr>
        <p:spPr>
          <a:xfrm>
            <a:off x="3419850" y="5031308"/>
            <a:ext cx="2776466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" b="0" i="0" dirty="0">
                <a:solidFill>
                  <a:srgbClr val="FF0000"/>
                </a:solidFill>
                <a:effectLst/>
                <a:latin typeface="Arial Black" panose="020B0604020202020204" pitchFamily="34" charset="0"/>
              </a:rPr>
              <a:t>NASA Pre-Decisional / FOR   ONLY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3959644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</p:sldLayoutIdLst>
  <p:hf hdr="0" ftr="0" dt="0"/>
  <p:txStyles>
    <p:titleStyle>
      <a:lvl1pPr algn="ctr" defTabSz="342892" rtl="0" eaLnBrk="1" latinLnBrk="0" hangingPunct="1">
        <a:lnSpc>
          <a:spcPct val="8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34289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342892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342892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342892" rtl="0" eaLnBrk="1" latinLnBrk="0" hangingPunct="1">
        <a:spcBef>
          <a:spcPct val="20000"/>
        </a:spcBef>
        <a:buFont typeface="Arial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342892" rtl="0" eaLnBrk="1" latinLnBrk="0" hangingPunct="1">
        <a:spcBef>
          <a:spcPct val="20000"/>
        </a:spcBef>
        <a:buFont typeface="Arial"/>
        <a:buChar char="»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0.png"/><Relationship Id="rId13" Type="http://schemas.openxmlformats.org/officeDocument/2006/relationships/image" Target="../media/image28.png"/><Relationship Id="rId3" Type="http://schemas.openxmlformats.org/officeDocument/2006/relationships/image" Target="../media/image180.png"/><Relationship Id="rId7" Type="http://schemas.openxmlformats.org/officeDocument/2006/relationships/image" Target="../media/image220.png"/><Relationship Id="rId12" Type="http://schemas.openxmlformats.org/officeDocument/2006/relationships/image" Target="../media/image27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0.png"/><Relationship Id="rId11" Type="http://schemas.openxmlformats.org/officeDocument/2006/relationships/image" Target="../media/image260.png"/><Relationship Id="rId5" Type="http://schemas.openxmlformats.org/officeDocument/2006/relationships/image" Target="../media/image200.png"/><Relationship Id="rId10" Type="http://schemas.openxmlformats.org/officeDocument/2006/relationships/image" Target="../media/image250.png"/><Relationship Id="rId4" Type="http://schemas.openxmlformats.org/officeDocument/2006/relationships/image" Target="../media/image190.png"/><Relationship Id="rId9" Type="http://schemas.openxmlformats.org/officeDocument/2006/relationships/image" Target="../media/image24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241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3.png"/><Relationship Id="rId5" Type="http://schemas.openxmlformats.org/officeDocument/2006/relationships/image" Target="../media/image26.png"/><Relationship Id="rId10" Type="http://schemas.openxmlformats.org/officeDocument/2006/relationships/image" Target="../media/image32.png"/><Relationship Id="rId4" Type="http://schemas.openxmlformats.org/officeDocument/2006/relationships/image" Target="../media/image25.png"/><Relationship Id="rId9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1A6454-46A9-EB4A-AA2B-CE2A932A80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2264" y="839069"/>
            <a:ext cx="7119471" cy="1378034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rgbClr val="0070C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 Method of Compliance for Achieving Target Collision Risk in UTM Operations</a:t>
            </a:r>
            <a:endParaRPr lang="en-US" sz="1800" b="0" dirty="0">
              <a:solidFill>
                <a:schemeClr val="accent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 Box 5">
            <a:extLst>
              <a:ext uri="{FF2B5EF4-FFF2-40B4-BE49-F238E27FC236}">
                <a16:creationId xmlns:a16="http://schemas.microsoft.com/office/drawing/2014/main" id="{3A3B58B8-1B67-4B44-A367-1BD73ACC93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2266" y="3087304"/>
            <a:ext cx="7119471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rgbClr val="FF3399"/>
                    </a:gs>
                    <a:gs pos="25000">
                      <a:srgbClr val="FF6633"/>
                    </a:gs>
                    <a:gs pos="50000">
                      <a:srgbClr val="FFFF00"/>
                    </a:gs>
                    <a:gs pos="75000">
                      <a:srgbClr val="01A78F"/>
                    </a:gs>
                    <a:gs pos="100000">
                      <a:srgbClr val="3366F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US" sz="1400" b="1" baseline="300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✧ </a:t>
            </a:r>
            <a:r>
              <a:rPr lang="en-US" sz="14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NASA Ames Research Center       </a:t>
            </a: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US" sz="1400" baseline="300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*</a:t>
            </a:r>
            <a:r>
              <a:rPr lang="en-US" sz="14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Metis Technology Solutions</a:t>
            </a: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US" sz="1400" b="1" baseline="300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✦ </a:t>
            </a:r>
            <a:r>
              <a:rPr lang="en-US" sz="14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San Jose Sate University Research Foundation</a:t>
            </a: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US" sz="1400" b="1" baseline="300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◇ </a:t>
            </a:r>
            <a:r>
              <a:rPr lang="en-US" sz="14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Universities Space Research Association</a:t>
            </a:r>
          </a:p>
          <a:p>
            <a:pPr algn="ctr">
              <a:spcBef>
                <a:spcPct val="0"/>
              </a:spcBef>
              <a:buFontTx/>
              <a:buNone/>
              <a:defRPr/>
            </a:pPr>
            <a:endParaRPr lang="en-US" sz="1400" dirty="0">
              <a:latin typeface="Avenir Book" charset="0"/>
              <a:ea typeface="Avenir Book" charset="0"/>
              <a:cs typeface="Calibri" panose="020F050202020403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US" sz="14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Moffett Field, CA</a:t>
            </a:r>
          </a:p>
        </p:txBody>
      </p:sp>
      <p:sp>
        <p:nvSpPr>
          <p:cNvPr id="9" name="Text Box 5">
            <a:extLst>
              <a:ext uri="{FF2B5EF4-FFF2-40B4-BE49-F238E27FC236}">
                <a16:creationId xmlns:a16="http://schemas.microsoft.com/office/drawing/2014/main" id="{E03A4770-1E10-3742-93C7-6B02412ECC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94400" y="2312435"/>
            <a:ext cx="17994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rgbClr val="FF3399"/>
                    </a:gs>
                    <a:gs pos="25000">
                      <a:srgbClr val="FF6633"/>
                    </a:gs>
                    <a:gs pos="50000">
                      <a:srgbClr val="FFFF00"/>
                    </a:gs>
                    <a:gs pos="75000">
                      <a:srgbClr val="01A78F"/>
                    </a:gs>
                    <a:gs pos="100000">
                      <a:srgbClr val="3366F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US" sz="1600" b="1" dirty="0">
                <a:latin typeface="Avenir Book" charset="0"/>
                <a:ea typeface="Avenir Book" charset="0"/>
                <a:cs typeface="Calibri" panose="020F0502020204030204" pitchFamily="34" charset="0"/>
              </a:rPr>
              <a:t>Min Xue</a:t>
            </a:r>
            <a:r>
              <a:rPr lang="en-US" sz="1600" b="1" baseline="300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✧</a:t>
            </a:r>
            <a:endParaRPr lang="en-US" sz="1600" dirty="0">
              <a:latin typeface="Avenir Book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14" name="Text Box 5">
            <a:extLst>
              <a:ext uri="{FF2B5EF4-FFF2-40B4-BE49-F238E27FC236}">
                <a16:creationId xmlns:a16="http://schemas.microsoft.com/office/drawing/2014/main" id="{566273FD-0C77-FF46-BA60-4FD72C6B4A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84511" y="4558720"/>
            <a:ext cx="643954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gradFill rotWithShape="0">
                  <a:gsLst>
                    <a:gs pos="0">
                      <a:srgbClr val="FF3399"/>
                    </a:gs>
                    <a:gs pos="25000">
                      <a:srgbClr val="FF6633"/>
                    </a:gs>
                    <a:gs pos="50000">
                      <a:srgbClr val="FFFF00"/>
                    </a:gs>
                    <a:gs pos="75000">
                      <a:srgbClr val="01A78F"/>
                    </a:gs>
                    <a:gs pos="100000">
                      <a:srgbClr val="3366F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US" sz="1400" dirty="0">
                <a:latin typeface="Avenir Book" charset="0"/>
                <a:ea typeface="Avenir Book" charset="0"/>
                <a:cs typeface="Avenir Book" charset="0"/>
              </a:rPr>
              <a:t>Aviation Forum, Aug. 1, 2024</a:t>
            </a:r>
          </a:p>
        </p:txBody>
      </p:sp>
      <p:sp>
        <p:nvSpPr>
          <p:cNvPr id="8" name="Text Box 5">
            <a:extLst>
              <a:ext uri="{FF2B5EF4-FFF2-40B4-BE49-F238E27FC236}">
                <a16:creationId xmlns:a16="http://schemas.microsoft.com/office/drawing/2014/main" id="{3634B311-6891-DF4D-92B1-80BF514121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2" y="2330911"/>
            <a:ext cx="21222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rgbClr val="FF3399"/>
                    </a:gs>
                    <a:gs pos="25000">
                      <a:srgbClr val="FF6633"/>
                    </a:gs>
                    <a:gs pos="50000">
                      <a:srgbClr val="FFFF00"/>
                    </a:gs>
                    <a:gs pos="75000">
                      <a:srgbClr val="01A78F"/>
                    </a:gs>
                    <a:gs pos="100000">
                      <a:srgbClr val="3366F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US" sz="1600" b="1" dirty="0">
                <a:latin typeface="Avenir Book" charset="0"/>
                <a:ea typeface="Avenir Book" charset="0"/>
                <a:cs typeface="Calibri" panose="020F0502020204030204" pitchFamily="34" charset="0"/>
              </a:rPr>
              <a:t>Vincent </a:t>
            </a:r>
            <a:r>
              <a:rPr lang="en-US" sz="1600" b="1" dirty="0" err="1">
                <a:latin typeface="Avenir Book" charset="0"/>
                <a:ea typeface="Avenir Book" charset="0"/>
                <a:cs typeface="Calibri" panose="020F0502020204030204" pitchFamily="34" charset="0"/>
              </a:rPr>
              <a:t>Kuo</a:t>
            </a:r>
            <a:r>
              <a:rPr lang="en-US" sz="1600" b="1" baseline="300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*</a:t>
            </a:r>
            <a:endParaRPr lang="en-US" sz="1600" baseline="30000" dirty="0">
              <a:latin typeface="Avenir Book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10" name="Text Box 5">
            <a:extLst>
              <a:ext uri="{FF2B5EF4-FFF2-40B4-BE49-F238E27FC236}">
                <a16:creationId xmlns:a16="http://schemas.microsoft.com/office/drawing/2014/main" id="{1E9448A7-B7CE-BA40-8398-EAAB792143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84511" y="2638075"/>
            <a:ext cx="352745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rgbClr val="FF3399"/>
                    </a:gs>
                    <a:gs pos="25000">
                      <a:srgbClr val="FF6633"/>
                    </a:gs>
                    <a:gs pos="50000">
                      <a:srgbClr val="FFFF00"/>
                    </a:gs>
                    <a:gs pos="75000">
                      <a:srgbClr val="01A78F"/>
                    </a:gs>
                    <a:gs pos="100000">
                      <a:srgbClr val="3366F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US" sz="1600" b="1" dirty="0">
                <a:latin typeface="Avenir Book" charset="0"/>
                <a:ea typeface="Avenir Book" charset="0"/>
                <a:cs typeface="Calibri" panose="020F0502020204030204" pitchFamily="34" charset="0"/>
              </a:rPr>
              <a:t>José Ignacio de </a:t>
            </a:r>
            <a:r>
              <a:rPr lang="en-US" sz="1600" b="1" dirty="0" err="1">
                <a:latin typeface="Avenir Book" charset="0"/>
                <a:ea typeface="Avenir Book" charset="0"/>
                <a:cs typeface="Calibri" panose="020F0502020204030204" pitchFamily="34" charset="0"/>
              </a:rPr>
              <a:t>Alvear</a:t>
            </a:r>
            <a:r>
              <a:rPr lang="en-US" sz="1600" b="1" dirty="0">
                <a:latin typeface="Avenir Book" charset="0"/>
                <a:ea typeface="Avenir Book" charset="0"/>
                <a:cs typeface="Calibri" panose="020F0502020204030204" pitchFamily="34" charset="0"/>
              </a:rPr>
              <a:t> Cárdenas</a:t>
            </a:r>
            <a:r>
              <a:rPr lang="en-US" sz="1600" b="1" baseline="300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✦</a:t>
            </a:r>
            <a:endParaRPr lang="en-US" sz="1600" dirty="0">
              <a:latin typeface="Avenir Book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3" name="Text Box 5">
            <a:extLst>
              <a:ext uri="{FF2B5EF4-FFF2-40B4-BE49-F238E27FC236}">
                <a16:creationId xmlns:a16="http://schemas.microsoft.com/office/drawing/2014/main" id="{90714CAA-FF9B-CFEE-A388-44351F1857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80910" y="2662329"/>
            <a:ext cx="352745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rgbClr val="FF3399"/>
                    </a:gs>
                    <a:gs pos="25000">
                      <a:srgbClr val="FF6633"/>
                    </a:gs>
                    <a:gs pos="50000">
                      <a:srgbClr val="FFFF00"/>
                    </a:gs>
                    <a:gs pos="75000">
                      <a:srgbClr val="01A78F"/>
                    </a:gs>
                    <a:gs pos="100000">
                      <a:srgbClr val="3366F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US" sz="1600" b="1" dirty="0">
                <a:latin typeface="Avenir Book" charset="0"/>
                <a:ea typeface="Avenir Book" charset="0"/>
                <a:cs typeface="Calibri" panose="020F0502020204030204" pitchFamily="34" charset="0"/>
              </a:rPr>
              <a:t>Priyank Pradeep</a:t>
            </a:r>
            <a:r>
              <a:rPr lang="en-US" sz="1600" b="1" baseline="30000" dirty="0">
                <a:latin typeface="Avenir Book" charset="0"/>
                <a:ea typeface="Avenir Book" charset="0"/>
                <a:cs typeface="Calibri" panose="020F0502020204030204" pitchFamily="34" charset="0"/>
              </a:rPr>
              <a:t>◇</a:t>
            </a:r>
            <a:endParaRPr lang="en-US" sz="1600" dirty="0">
              <a:latin typeface="Avenir Book" charset="0"/>
              <a:ea typeface="Avenir Book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309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3093"/>
    </mc:Choice>
    <mc:Fallback xmlns="">
      <p:transition spd="slow" advTm="33093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14" y="66318"/>
            <a:ext cx="8039099" cy="473202"/>
          </a:xfrm>
          <a:prstGeom prst="rect">
            <a:avLst/>
          </a:prstGeom>
          <a:ln>
            <a:noFill/>
          </a:ln>
        </p:spPr>
        <p:txBody>
          <a:bodyPr>
            <a:normAutofit fontScale="90000"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/>
              <a:t>Outlin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E02265-93C8-9C00-90AE-A287ADC60647}"/>
              </a:ext>
            </a:extLst>
          </p:cNvPr>
          <p:cNvSpPr txBox="1">
            <a:spLocks/>
          </p:cNvSpPr>
          <p:nvPr/>
        </p:nvSpPr>
        <p:spPr>
          <a:xfrm>
            <a:off x="927847" y="852682"/>
            <a:ext cx="7342094" cy="3321997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ＭＳ Ｐゴシック"/>
              </a:defRPr>
            </a:lvl1pPr>
            <a:lvl2pPr marL="557213" indent="-214313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8572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2001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5430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endParaRPr lang="en-US" sz="1800" b="1">
              <a:solidFill>
                <a:srgbClr val="1F4E79"/>
              </a:solidFill>
              <a:latin typeface="Calibri" pitchFamily="34" charset="0"/>
              <a:ea typeface="ＭＳ Ｐゴシック"/>
            </a:endParaRPr>
          </a:p>
          <a:p>
            <a:pPr marL="0" indent="0">
              <a:spcBef>
                <a:spcPts val="450"/>
              </a:spcBef>
              <a:buFont typeface="Arial" charset="0"/>
              <a:buNone/>
            </a:pPr>
            <a:endParaRPr lang="en-US" sz="225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4654CC-1599-B4F4-FD2A-7A89603A8E8B}"/>
              </a:ext>
            </a:extLst>
          </p:cNvPr>
          <p:cNvSpPr txBox="1"/>
          <p:nvPr/>
        </p:nvSpPr>
        <p:spPr>
          <a:xfrm>
            <a:off x="1430801" y="852682"/>
            <a:ext cx="6336186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ethod of Compli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ich Collision Risk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TM USS Specific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hod of Compliance for Strategic Coordination Ser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aseline ASTM require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Volume-based Collision Risk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low Diagram: test harness and data collec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nsitivity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nclusions and Future Work</a:t>
            </a:r>
            <a:endParaRPr lang="en-US" sz="16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86475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7C9DD7B-2BBE-8C7A-AF52-D83A2E7E468B}"/>
              </a:ext>
            </a:extLst>
          </p:cNvPr>
          <p:cNvSpPr/>
          <p:nvPr/>
        </p:nvSpPr>
        <p:spPr>
          <a:xfrm>
            <a:off x="1573219" y="2122889"/>
            <a:ext cx="1645920" cy="42141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333732-A6EC-AD10-9D41-308362FC9193}"/>
              </a:ext>
            </a:extLst>
          </p:cNvPr>
          <p:cNvSpPr/>
          <p:nvPr/>
        </p:nvSpPr>
        <p:spPr>
          <a:xfrm rot="19495825">
            <a:off x="1919610" y="2770272"/>
            <a:ext cx="1645920" cy="421419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E156F7-6FD5-1646-32DF-D76F5A72AD89}"/>
              </a:ext>
            </a:extLst>
          </p:cNvPr>
          <p:cNvSpPr/>
          <p:nvPr/>
        </p:nvSpPr>
        <p:spPr>
          <a:xfrm>
            <a:off x="2217815" y="3737643"/>
            <a:ext cx="128825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Rectangular int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400E6FF-AF8A-AFAE-D10B-65CBCA685C60}"/>
                  </a:ext>
                </a:extLst>
              </p:cNvPr>
              <p:cNvSpPr txBox="1"/>
              <p:nvPr/>
            </p:nvSpPr>
            <p:spPr>
              <a:xfrm>
                <a:off x="2217815" y="2316559"/>
                <a:ext cx="19139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400E6FF-AF8A-AFAE-D10B-65CBCA685C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17815" y="2316559"/>
                <a:ext cx="191399" cy="184666"/>
              </a:xfrm>
              <a:prstGeom prst="rect">
                <a:avLst/>
              </a:prstGeom>
              <a:blipFill>
                <a:blip r:embed="rId3"/>
                <a:stretch>
                  <a:fillRect l="-12500" r="-12500" b="-2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9FD94C3-FA0E-1307-502D-913C856FC74E}"/>
                  </a:ext>
                </a:extLst>
              </p:cNvPr>
              <p:cNvSpPr txBox="1"/>
              <p:nvPr/>
            </p:nvSpPr>
            <p:spPr>
              <a:xfrm>
                <a:off x="2596609" y="3062816"/>
                <a:ext cx="283347" cy="1995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9FD94C3-FA0E-1307-502D-913C856FC7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6609" y="3062816"/>
                <a:ext cx="283347" cy="199542"/>
              </a:xfrm>
              <a:prstGeom prst="rect">
                <a:avLst/>
              </a:prstGeom>
              <a:blipFill>
                <a:blip r:embed="rId4"/>
                <a:stretch>
                  <a:fillRect b="-176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Oval 10">
            <a:extLst>
              <a:ext uri="{FF2B5EF4-FFF2-40B4-BE49-F238E27FC236}">
                <a16:creationId xmlns:a16="http://schemas.microsoft.com/office/drawing/2014/main" id="{65D95197-44E2-2EFB-AE47-F75C9EE9C06C}"/>
              </a:ext>
            </a:extLst>
          </p:cNvPr>
          <p:cNvSpPr/>
          <p:nvPr/>
        </p:nvSpPr>
        <p:spPr>
          <a:xfrm>
            <a:off x="2373501" y="2325323"/>
            <a:ext cx="79513" cy="8073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8D865EF-7C54-1C98-02EB-028102BC57D8}"/>
              </a:ext>
            </a:extLst>
          </p:cNvPr>
          <p:cNvSpPr/>
          <p:nvPr/>
        </p:nvSpPr>
        <p:spPr>
          <a:xfrm>
            <a:off x="2686362" y="2970438"/>
            <a:ext cx="79513" cy="8073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1F324C3-0945-02E9-F9B3-7D6CDA24C9D5}"/>
                  </a:ext>
                </a:extLst>
              </p:cNvPr>
              <p:cNvSpPr txBox="1"/>
              <p:nvPr/>
            </p:nvSpPr>
            <p:spPr>
              <a:xfrm>
                <a:off x="2879956" y="3919733"/>
                <a:ext cx="283347" cy="1995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1F324C3-0945-02E9-F9B3-7D6CDA24C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79956" y="3919733"/>
                <a:ext cx="283347" cy="199542"/>
              </a:xfrm>
              <a:prstGeom prst="rect">
                <a:avLst/>
              </a:prstGeom>
              <a:blipFill>
                <a:blip r:embed="rId5"/>
                <a:stretch>
                  <a:fillRect b="-176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F1D9420-BC47-ECD6-DD6A-635C94721A24}"/>
              </a:ext>
            </a:extLst>
          </p:cNvPr>
          <p:cNvCxnSpPr>
            <a:cxnSpLocks/>
          </p:cNvCxnSpPr>
          <p:nvPr/>
        </p:nvCxnSpPr>
        <p:spPr>
          <a:xfrm flipH="1" flipV="1">
            <a:off x="2445658" y="3444851"/>
            <a:ext cx="150951" cy="26893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BF299995-AD01-EBA6-92C7-2AF8D7531934}"/>
              </a:ext>
            </a:extLst>
          </p:cNvPr>
          <p:cNvSpPr/>
          <p:nvPr/>
        </p:nvSpPr>
        <p:spPr>
          <a:xfrm>
            <a:off x="979525" y="2811307"/>
            <a:ext cx="121665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Rectangular int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7020D362-49D4-5106-DB52-EAC371D3D030}"/>
                  </a:ext>
                </a:extLst>
              </p:cNvPr>
              <p:cNvSpPr txBox="1"/>
              <p:nvPr/>
            </p:nvSpPr>
            <p:spPr>
              <a:xfrm>
                <a:off x="1675038" y="2980839"/>
                <a:ext cx="283347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7020D362-49D4-5106-DB52-EAC371D3D0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038" y="2980839"/>
                <a:ext cx="283347" cy="184666"/>
              </a:xfrm>
              <a:prstGeom prst="rect">
                <a:avLst/>
              </a:prstGeom>
              <a:blipFill>
                <a:blip r:embed="rId6"/>
                <a:stretch>
                  <a:fillRect b="-187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CEAD9EB-BC1F-12F8-8496-90B66825A431}"/>
              </a:ext>
            </a:extLst>
          </p:cNvPr>
          <p:cNvCxnSpPr>
            <a:cxnSpLocks/>
          </p:cNvCxnSpPr>
          <p:nvPr/>
        </p:nvCxnSpPr>
        <p:spPr>
          <a:xfrm flipV="1">
            <a:off x="1724065" y="2552967"/>
            <a:ext cx="197680" cy="259402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68473A98-9C94-002C-F55F-474926BE9634}"/>
              </a:ext>
            </a:extLst>
          </p:cNvPr>
          <p:cNvSpPr txBox="1"/>
          <p:nvPr/>
        </p:nvSpPr>
        <p:spPr>
          <a:xfrm>
            <a:off x="4098720" y="1824803"/>
            <a:ext cx="278019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070C0"/>
                </a:solidFill>
              </a:rPr>
              <a:t>What is the UA-UA collision risk?</a:t>
            </a:r>
          </a:p>
          <a:p>
            <a:pPr algn="ctr"/>
            <a:endParaRPr lang="en-US" sz="2000" dirty="0">
              <a:solidFill>
                <a:srgbClr val="0070C0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B800A6D-37B4-5F95-0DC1-BEDAFC489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45" y="43033"/>
            <a:ext cx="9154133" cy="473202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/>
              <a:t>Volume-base Collision Risk Model</a:t>
            </a:r>
          </a:p>
        </p:txBody>
      </p:sp>
    </p:spTree>
    <p:extLst>
      <p:ext uri="{BB962C8B-B14F-4D97-AF65-F5344CB8AC3E}">
        <p14:creationId xmlns:p14="http://schemas.microsoft.com/office/powerpoint/2010/main" val="19702452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>
            <a:extLst>
              <a:ext uri="{FF2B5EF4-FFF2-40B4-BE49-F238E27FC236}">
                <a16:creationId xmlns:a16="http://schemas.microsoft.com/office/drawing/2014/main" id="{691BBE3F-5887-8FC5-F4ED-02556AA609EC}"/>
              </a:ext>
            </a:extLst>
          </p:cNvPr>
          <p:cNvSpPr/>
          <p:nvPr/>
        </p:nvSpPr>
        <p:spPr>
          <a:xfrm>
            <a:off x="3878691" y="2472495"/>
            <a:ext cx="818985" cy="82623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45" y="43033"/>
            <a:ext cx="9154133" cy="473202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/>
              <a:t>Volume-base Collision Risk Model: Collision Risk between Elliptical Shape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68876C9-A25F-D216-24C4-4C6B00A7DCE8}"/>
              </a:ext>
            </a:extLst>
          </p:cNvPr>
          <p:cNvSpPr/>
          <p:nvPr/>
        </p:nvSpPr>
        <p:spPr>
          <a:xfrm>
            <a:off x="677354" y="2043691"/>
            <a:ext cx="1119517" cy="3556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98CA42-BB15-A265-6A52-D87C6B3D868C}"/>
              </a:ext>
            </a:extLst>
          </p:cNvPr>
          <p:cNvSpPr/>
          <p:nvPr/>
        </p:nvSpPr>
        <p:spPr>
          <a:xfrm rot="17591024">
            <a:off x="853304" y="2142649"/>
            <a:ext cx="1119517" cy="3556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82A1B2F-384E-BEC3-FF7F-32C84500394E}"/>
              </a:ext>
            </a:extLst>
          </p:cNvPr>
          <p:cNvCxnSpPr>
            <a:cxnSpLocks/>
          </p:cNvCxnSpPr>
          <p:nvPr/>
        </p:nvCxnSpPr>
        <p:spPr>
          <a:xfrm>
            <a:off x="457200" y="2211082"/>
            <a:ext cx="1890132" cy="10409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3C4E634-DF72-2AAB-9E06-6BA384DEC580}"/>
              </a:ext>
            </a:extLst>
          </p:cNvPr>
          <p:cNvCxnSpPr>
            <a:cxnSpLocks/>
          </p:cNvCxnSpPr>
          <p:nvPr/>
        </p:nvCxnSpPr>
        <p:spPr>
          <a:xfrm flipV="1">
            <a:off x="897285" y="1335819"/>
            <a:ext cx="974873" cy="2068359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B9D8E1BF-8844-2BB3-D1FA-19B65FA4636A}"/>
              </a:ext>
            </a:extLst>
          </p:cNvPr>
          <p:cNvSpPr/>
          <p:nvPr/>
        </p:nvSpPr>
        <p:spPr>
          <a:xfrm rot="19791431">
            <a:off x="3562584" y="1818520"/>
            <a:ext cx="1451200" cy="77448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6B832C-6B5C-9027-EEFA-80B692068656}"/>
              </a:ext>
            </a:extLst>
          </p:cNvPr>
          <p:cNvSpPr/>
          <p:nvPr/>
        </p:nvSpPr>
        <p:spPr>
          <a:xfrm>
            <a:off x="242530" y="1353061"/>
            <a:ext cx="157826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400" dirty="0">
                <a:latin typeface="Calibri" panose="020F0502020204030204" pitchFamily="34" charset="0"/>
              </a:rPr>
              <a:t>Elliptical inte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5EC559-F611-230B-2DF9-55108BF7DCF9}"/>
              </a:ext>
            </a:extLst>
          </p:cNvPr>
          <p:cNvSpPr/>
          <p:nvPr/>
        </p:nvSpPr>
        <p:spPr>
          <a:xfrm>
            <a:off x="1106179" y="2819876"/>
            <a:ext cx="14890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400" dirty="0">
                <a:latin typeface="Calibri" panose="020F0502020204030204" pitchFamily="34" charset="0"/>
              </a:rPr>
              <a:t>Elliptical int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3A9B943-90E3-71A1-2540-4AD4D669466F}"/>
                  </a:ext>
                </a:extLst>
              </p:cNvPr>
              <p:cNvSpPr txBox="1"/>
              <p:nvPr/>
            </p:nvSpPr>
            <p:spPr>
              <a:xfrm>
                <a:off x="1010695" y="2172362"/>
                <a:ext cx="221920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3A9B943-90E3-71A1-2540-4AD4D669466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0695" y="2172362"/>
                <a:ext cx="221920" cy="215444"/>
              </a:xfrm>
              <a:prstGeom prst="rect">
                <a:avLst/>
              </a:prstGeom>
              <a:blipFill>
                <a:blip r:embed="rId3"/>
                <a:stretch>
                  <a:fillRect l="-16667" r="-5556" b="-157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12A0387-7A75-491B-0436-00CECE87FAEE}"/>
                  </a:ext>
                </a:extLst>
              </p:cNvPr>
              <p:cNvSpPr txBox="1"/>
              <p:nvPr/>
            </p:nvSpPr>
            <p:spPr>
              <a:xfrm>
                <a:off x="1283552" y="2372462"/>
                <a:ext cx="283347" cy="23275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12A0387-7A75-491B-0436-00CECE87FA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3552" y="2372462"/>
                <a:ext cx="283347" cy="232756"/>
              </a:xfrm>
              <a:prstGeom prst="rect">
                <a:avLst/>
              </a:prstGeom>
              <a:blipFill>
                <a:blip r:embed="rId4"/>
                <a:stretch>
                  <a:fillRect l="-4348" b="-263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Rectangle 16">
            <a:extLst>
              <a:ext uri="{FF2B5EF4-FFF2-40B4-BE49-F238E27FC236}">
                <a16:creationId xmlns:a16="http://schemas.microsoft.com/office/drawing/2014/main" id="{D49F111C-285C-A897-09D9-CCFC8D1AF24D}"/>
              </a:ext>
            </a:extLst>
          </p:cNvPr>
          <p:cNvSpPr/>
          <p:nvPr/>
        </p:nvSpPr>
        <p:spPr>
          <a:xfrm>
            <a:off x="3131511" y="1082715"/>
            <a:ext cx="157851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400" dirty="0">
                <a:latin typeface="Calibri" panose="020F0502020204030204" pitchFamily="34" charset="0"/>
              </a:rPr>
              <a:t>Combined elliptical inten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750239A-DA10-1A8F-D166-A3CCCB6B4857}"/>
              </a:ext>
            </a:extLst>
          </p:cNvPr>
          <p:cNvSpPr/>
          <p:nvPr/>
        </p:nvSpPr>
        <p:spPr>
          <a:xfrm>
            <a:off x="1166381" y="2181126"/>
            <a:ext cx="79513" cy="8073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5C4645B-53B7-4E15-61A8-C1E098AAE151}"/>
              </a:ext>
            </a:extLst>
          </p:cNvPr>
          <p:cNvSpPr/>
          <p:nvPr/>
        </p:nvSpPr>
        <p:spPr>
          <a:xfrm>
            <a:off x="1373305" y="2280084"/>
            <a:ext cx="79513" cy="8073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3E6AC62-343A-5847-4229-41403390D109}"/>
              </a:ext>
            </a:extLst>
          </p:cNvPr>
          <p:cNvSpPr/>
          <p:nvPr/>
        </p:nvSpPr>
        <p:spPr>
          <a:xfrm>
            <a:off x="4248426" y="2165396"/>
            <a:ext cx="79513" cy="8073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45CFF22-D663-AB68-E8AA-F498EFDAA5F9}"/>
              </a:ext>
            </a:extLst>
          </p:cNvPr>
          <p:cNvSpPr/>
          <p:nvPr/>
        </p:nvSpPr>
        <p:spPr>
          <a:xfrm>
            <a:off x="4244920" y="2836265"/>
            <a:ext cx="79513" cy="8073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A175C44-CAD0-CFA4-576B-3C785F2A55D0}"/>
              </a:ext>
            </a:extLst>
          </p:cNvPr>
          <p:cNvSpPr/>
          <p:nvPr/>
        </p:nvSpPr>
        <p:spPr>
          <a:xfrm>
            <a:off x="3217452" y="3390824"/>
            <a:ext cx="169465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Circular collision zone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9CE997D3-07AE-199E-E8CD-31AC8C3C39DC}"/>
                  </a:ext>
                </a:extLst>
              </p:cNvPr>
              <p:cNvSpPr txBox="1"/>
              <p:nvPr/>
            </p:nvSpPr>
            <p:spPr>
              <a:xfrm>
                <a:off x="869021" y="1507653"/>
                <a:ext cx="28334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9CE997D3-07AE-199E-E8CD-31AC8C3C39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9021" y="1507653"/>
                <a:ext cx="283347" cy="276999"/>
              </a:xfrm>
              <a:prstGeom prst="rect">
                <a:avLst/>
              </a:prstGeom>
              <a:blipFill>
                <a:blip r:embed="rId5"/>
                <a:stretch>
                  <a:fillRect b="-173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C65F9B4-7A18-04ED-A651-F1B857500194}"/>
                  </a:ext>
                </a:extLst>
              </p:cNvPr>
              <p:cNvSpPr txBox="1"/>
              <p:nvPr/>
            </p:nvSpPr>
            <p:spPr>
              <a:xfrm>
                <a:off x="1604498" y="2965638"/>
                <a:ext cx="283347" cy="2993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C65F9B4-7A18-04ED-A651-F1B8575001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4498" y="2965638"/>
                <a:ext cx="283347" cy="299313"/>
              </a:xfrm>
              <a:prstGeom prst="rect">
                <a:avLst/>
              </a:prstGeom>
              <a:blipFill>
                <a:blip r:embed="rId6"/>
                <a:stretch>
                  <a:fillRect l="-4348" r="-4348" b="-24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00976223-2E18-442D-F56D-642250A4C789}"/>
                  </a:ext>
                </a:extLst>
              </p:cNvPr>
              <p:cNvSpPr txBox="1"/>
              <p:nvPr/>
            </p:nvSpPr>
            <p:spPr>
              <a:xfrm>
                <a:off x="3367751" y="1493930"/>
                <a:ext cx="768382" cy="23275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00976223-2E18-442D-F56D-642250A4C7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7751" y="1493930"/>
                <a:ext cx="768382" cy="232756"/>
              </a:xfrm>
              <a:prstGeom prst="rect">
                <a:avLst/>
              </a:prstGeom>
              <a:blipFill>
                <a:blip r:embed="rId7"/>
                <a:stretch>
                  <a:fillRect b="-263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1" name="Group 50">
            <a:extLst>
              <a:ext uri="{FF2B5EF4-FFF2-40B4-BE49-F238E27FC236}">
                <a16:creationId xmlns:a16="http://schemas.microsoft.com/office/drawing/2014/main" id="{2C399F36-6DA7-B845-5BF5-CAA9F5C23E3E}"/>
              </a:ext>
            </a:extLst>
          </p:cNvPr>
          <p:cNvGrpSpPr/>
          <p:nvPr/>
        </p:nvGrpSpPr>
        <p:grpSpPr>
          <a:xfrm rot="1429262">
            <a:off x="6196478" y="1480055"/>
            <a:ext cx="1288391" cy="1859992"/>
            <a:chOff x="6196478" y="1480055"/>
            <a:chExt cx="1288391" cy="1859992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897B5C4D-BC15-2F90-77C8-0ABC791104AA}"/>
                </a:ext>
              </a:extLst>
            </p:cNvPr>
            <p:cNvSpPr/>
            <p:nvPr/>
          </p:nvSpPr>
          <p:spPr>
            <a:xfrm rot="19791431">
              <a:off x="6196478" y="1480055"/>
              <a:ext cx="1288391" cy="1283703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F4154485-C362-A1DE-FD75-BAE4FD096E99}"/>
                </a:ext>
              </a:extLst>
            </p:cNvPr>
            <p:cNvGrpSpPr/>
            <p:nvPr/>
          </p:nvGrpSpPr>
          <p:grpSpPr>
            <a:xfrm>
              <a:off x="6629400" y="2084666"/>
              <a:ext cx="644610" cy="1255381"/>
              <a:chOff x="6629400" y="2084666"/>
              <a:chExt cx="644610" cy="1255381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CF98F4BB-8B2C-CC83-F321-AF8ECCB72745}"/>
                  </a:ext>
                </a:extLst>
              </p:cNvPr>
              <p:cNvSpPr/>
              <p:nvPr/>
            </p:nvSpPr>
            <p:spPr>
              <a:xfrm rot="20080606">
                <a:off x="6777630" y="2493945"/>
                <a:ext cx="489949" cy="846102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998BF9CC-158E-DC0C-9EE6-6EA456F57FCC}"/>
                  </a:ext>
                </a:extLst>
              </p:cNvPr>
              <p:cNvSpPr/>
              <p:nvPr/>
            </p:nvSpPr>
            <p:spPr>
              <a:xfrm>
                <a:off x="6800916" y="2084666"/>
                <a:ext cx="79513" cy="80730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166D27C9-AD3D-746E-71D6-7CBD47859F41}"/>
                  </a:ext>
                </a:extLst>
              </p:cNvPr>
              <p:cNvSpPr/>
              <p:nvPr/>
            </p:nvSpPr>
            <p:spPr>
              <a:xfrm>
                <a:off x="6982847" y="2876630"/>
                <a:ext cx="79513" cy="80730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99DFDA6-BB6F-C4EB-FF41-A6186BAB3BC8}"/>
                  </a:ext>
                </a:extLst>
              </p:cNvPr>
              <p:cNvSpPr/>
              <p:nvPr/>
            </p:nvSpPr>
            <p:spPr>
              <a:xfrm rot="20166814">
                <a:off x="6773571" y="2479645"/>
                <a:ext cx="500439" cy="857806"/>
              </a:xfrm>
              <a:prstGeom prst="rect">
                <a:avLst/>
              </a:prstGeom>
              <a:noFill/>
              <a:ln>
                <a:solidFill>
                  <a:srgbClr val="0432FF"/>
                </a:solidFill>
                <a:prstDash val="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48CD2810-61E6-7706-92EF-29DF2CFC8349}"/>
                  </a:ext>
                </a:extLst>
              </p:cNvPr>
              <p:cNvSpPr/>
              <p:nvPr/>
            </p:nvSpPr>
            <p:spPr>
              <a:xfrm>
                <a:off x="6629400" y="2416175"/>
                <a:ext cx="558800" cy="349250"/>
              </a:xfrm>
              <a:custGeom>
                <a:avLst/>
                <a:gdLst>
                  <a:gd name="connsiteX0" fmla="*/ 50800 w 558800"/>
                  <a:gd name="connsiteY0" fmla="*/ 327025 h 349250"/>
                  <a:gd name="connsiteX1" fmla="*/ 139700 w 558800"/>
                  <a:gd name="connsiteY1" fmla="*/ 346075 h 349250"/>
                  <a:gd name="connsiteX2" fmla="*/ 234950 w 558800"/>
                  <a:gd name="connsiteY2" fmla="*/ 349250 h 349250"/>
                  <a:gd name="connsiteX3" fmla="*/ 307975 w 558800"/>
                  <a:gd name="connsiteY3" fmla="*/ 342900 h 349250"/>
                  <a:gd name="connsiteX4" fmla="*/ 390525 w 558800"/>
                  <a:gd name="connsiteY4" fmla="*/ 323850 h 349250"/>
                  <a:gd name="connsiteX5" fmla="*/ 444500 w 558800"/>
                  <a:gd name="connsiteY5" fmla="*/ 304800 h 349250"/>
                  <a:gd name="connsiteX6" fmla="*/ 498475 w 558800"/>
                  <a:gd name="connsiteY6" fmla="*/ 279400 h 349250"/>
                  <a:gd name="connsiteX7" fmla="*/ 533400 w 558800"/>
                  <a:gd name="connsiteY7" fmla="*/ 260350 h 349250"/>
                  <a:gd name="connsiteX8" fmla="*/ 558800 w 558800"/>
                  <a:gd name="connsiteY8" fmla="*/ 247650 h 349250"/>
                  <a:gd name="connsiteX9" fmla="*/ 450850 w 558800"/>
                  <a:gd name="connsiteY9" fmla="*/ 0 h 349250"/>
                  <a:gd name="connsiteX10" fmla="*/ 0 w 558800"/>
                  <a:gd name="connsiteY10" fmla="*/ 200025 h 349250"/>
                  <a:gd name="connsiteX11" fmla="*/ 50800 w 558800"/>
                  <a:gd name="connsiteY11" fmla="*/ 327025 h 349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58800" h="349250">
                    <a:moveTo>
                      <a:pt x="50800" y="327025"/>
                    </a:moveTo>
                    <a:lnTo>
                      <a:pt x="139700" y="346075"/>
                    </a:lnTo>
                    <a:lnTo>
                      <a:pt x="234950" y="349250"/>
                    </a:lnTo>
                    <a:lnTo>
                      <a:pt x="307975" y="342900"/>
                    </a:lnTo>
                    <a:lnTo>
                      <a:pt x="390525" y="323850"/>
                    </a:lnTo>
                    <a:lnTo>
                      <a:pt x="444500" y="304800"/>
                    </a:lnTo>
                    <a:lnTo>
                      <a:pt x="498475" y="279400"/>
                    </a:lnTo>
                    <a:lnTo>
                      <a:pt x="533400" y="260350"/>
                    </a:lnTo>
                    <a:lnTo>
                      <a:pt x="558800" y="247650"/>
                    </a:lnTo>
                    <a:lnTo>
                      <a:pt x="450850" y="0"/>
                    </a:lnTo>
                    <a:lnTo>
                      <a:pt x="0" y="200025"/>
                    </a:lnTo>
                    <a:lnTo>
                      <a:pt x="50800" y="327025"/>
                    </a:lnTo>
                    <a:close/>
                  </a:path>
                </a:pathLst>
              </a:custGeom>
              <a:noFill/>
              <a:ln w="19050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A763B7C5-8B0F-637D-FCD0-815AAEF9C5BE}"/>
                  </a:ext>
                </a:extLst>
              </p:cNvPr>
              <p:cNvSpPr/>
              <p:nvPr/>
            </p:nvSpPr>
            <p:spPr>
              <a:xfrm>
                <a:off x="6740525" y="2527300"/>
                <a:ext cx="415925" cy="238125"/>
              </a:xfrm>
              <a:custGeom>
                <a:avLst/>
                <a:gdLst>
                  <a:gd name="connsiteX0" fmla="*/ 0 w 415925"/>
                  <a:gd name="connsiteY0" fmla="*/ 228600 h 238125"/>
                  <a:gd name="connsiteX1" fmla="*/ 92075 w 415925"/>
                  <a:gd name="connsiteY1" fmla="*/ 238125 h 238125"/>
                  <a:gd name="connsiteX2" fmla="*/ 152400 w 415925"/>
                  <a:gd name="connsiteY2" fmla="*/ 234950 h 238125"/>
                  <a:gd name="connsiteX3" fmla="*/ 212725 w 415925"/>
                  <a:gd name="connsiteY3" fmla="*/ 228600 h 238125"/>
                  <a:gd name="connsiteX4" fmla="*/ 260350 w 415925"/>
                  <a:gd name="connsiteY4" fmla="*/ 215900 h 238125"/>
                  <a:gd name="connsiteX5" fmla="*/ 323850 w 415925"/>
                  <a:gd name="connsiteY5" fmla="*/ 196850 h 238125"/>
                  <a:gd name="connsiteX6" fmla="*/ 365125 w 415925"/>
                  <a:gd name="connsiteY6" fmla="*/ 177800 h 238125"/>
                  <a:gd name="connsiteX7" fmla="*/ 400050 w 415925"/>
                  <a:gd name="connsiteY7" fmla="*/ 158750 h 238125"/>
                  <a:gd name="connsiteX8" fmla="*/ 415925 w 415925"/>
                  <a:gd name="connsiteY8" fmla="*/ 152400 h 238125"/>
                  <a:gd name="connsiteX9" fmla="*/ 374650 w 415925"/>
                  <a:gd name="connsiteY9" fmla="*/ 107950 h 238125"/>
                  <a:gd name="connsiteX10" fmla="*/ 346075 w 415925"/>
                  <a:gd name="connsiteY10" fmla="*/ 79375 h 238125"/>
                  <a:gd name="connsiteX11" fmla="*/ 298450 w 415925"/>
                  <a:gd name="connsiteY11" fmla="*/ 41275 h 238125"/>
                  <a:gd name="connsiteX12" fmla="*/ 260350 w 415925"/>
                  <a:gd name="connsiteY12" fmla="*/ 22225 h 238125"/>
                  <a:gd name="connsiteX13" fmla="*/ 215900 w 415925"/>
                  <a:gd name="connsiteY13" fmla="*/ 9525 h 238125"/>
                  <a:gd name="connsiteX14" fmla="*/ 171450 w 415925"/>
                  <a:gd name="connsiteY14" fmla="*/ 0 h 238125"/>
                  <a:gd name="connsiteX15" fmla="*/ 130175 w 415925"/>
                  <a:gd name="connsiteY15" fmla="*/ 3175 h 238125"/>
                  <a:gd name="connsiteX16" fmla="*/ 101600 w 415925"/>
                  <a:gd name="connsiteY16" fmla="*/ 12700 h 238125"/>
                  <a:gd name="connsiteX17" fmla="*/ 73025 w 415925"/>
                  <a:gd name="connsiteY17" fmla="*/ 31750 h 238125"/>
                  <a:gd name="connsiteX18" fmla="*/ 41275 w 415925"/>
                  <a:gd name="connsiteY18" fmla="*/ 60325 h 238125"/>
                  <a:gd name="connsiteX19" fmla="*/ 19050 w 415925"/>
                  <a:gd name="connsiteY19" fmla="*/ 95250 h 238125"/>
                  <a:gd name="connsiteX20" fmla="*/ 9525 w 415925"/>
                  <a:gd name="connsiteY20" fmla="*/ 133350 h 238125"/>
                  <a:gd name="connsiteX21" fmla="*/ 3175 w 415925"/>
                  <a:gd name="connsiteY21" fmla="*/ 171450 h 238125"/>
                  <a:gd name="connsiteX22" fmla="*/ 0 w 415925"/>
                  <a:gd name="connsiteY22" fmla="*/ 228600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15925" h="238125">
                    <a:moveTo>
                      <a:pt x="0" y="228600"/>
                    </a:moveTo>
                    <a:lnTo>
                      <a:pt x="92075" y="238125"/>
                    </a:lnTo>
                    <a:lnTo>
                      <a:pt x="152400" y="234950"/>
                    </a:lnTo>
                    <a:lnTo>
                      <a:pt x="212725" y="228600"/>
                    </a:lnTo>
                    <a:lnTo>
                      <a:pt x="260350" y="215900"/>
                    </a:lnTo>
                    <a:lnTo>
                      <a:pt x="323850" y="196850"/>
                    </a:lnTo>
                    <a:lnTo>
                      <a:pt x="365125" y="177800"/>
                    </a:lnTo>
                    <a:lnTo>
                      <a:pt x="400050" y="158750"/>
                    </a:lnTo>
                    <a:lnTo>
                      <a:pt x="415925" y="152400"/>
                    </a:lnTo>
                    <a:lnTo>
                      <a:pt x="374650" y="107950"/>
                    </a:lnTo>
                    <a:lnTo>
                      <a:pt x="346075" y="79375"/>
                    </a:lnTo>
                    <a:lnTo>
                      <a:pt x="298450" y="41275"/>
                    </a:lnTo>
                    <a:lnTo>
                      <a:pt x="260350" y="22225"/>
                    </a:lnTo>
                    <a:lnTo>
                      <a:pt x="215900" y="9525"/>
                    </a:lnTo>
                    <a:lnTo>
                      <a:pt x="171450" y="0"/>
                    </a:lnTo>
                    <a:lnTo>
                      <a:pt x="130175" y="3175"/>
                    </a:lnTo>
                    <a:lnTo>
                      <a:pt x="101600" y="12700"/>
                    </a:lnTo>
                    <a:lnTo>
                      <a:pt x="73025" y="31750"/>
                    </a:lnTo>
                    <a:lnTo>
                      <a:pt x="41275" y="60325"/>
                    </a:lnTo>
                    <a:lnTo>
                      <a:pt x="19050" y="95250"/>
                    </a:lnTo>
                    <a:lnTo>
                      <a:pt x="9525" y="133350"/>
                    </a:lnTo>
                    <a:lnTo>
                      <a:pt x="3175" y="171450"/>
                    </a:lnTo>
                    <a:lnTo>
                      <a:pt x="0" y="228600"/>
                    </a:lnTo>
                    <a:close/>
                  </a:path>
                </a:pathLst>
              </a:custGeom>
              <a:solidFill>
                <a:srgbClr val="FF0000">
                  <a:alpha val="38162"/>
                </a:srgb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4193BB1B-31E2-4F33-29B4-93C4FC6DD336}"/>
              </a:ext>
            </a:extLst>
          </p:cNvPr>
          <p:cNvSpPr/>
          <p:nvPr/>
        </p:nvSpPr>
        <p:spPr>
          <a:xfrm>
            <a:off x="5780229" y="1135863"/>
            <a:ext cx="184796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400" dirty="0">
                <a:latin typeface="Calibri" panose="020F0502020204030204" pitchFamily="34" charset="0"/>
              </a:rPr>
              <a:t>Combined circular inten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7267186-3EDB-59A5-6DEA-B5E6182E7787}"/>
              </a:ext>
            </a:extLst>
          </p:cNvPr>
          <p:cNvSpPr/>
          <p:nvPr/>
        </p:nvSpPr>
        <p:spPr>
          <a:xfrm>
            <a:off x="6943193" y="2824561"/>
            <a:ext cx="117155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Elliptical collision zone 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9D241A5-BC7F-0BA8-0021-A6D3F587AD0D}"/>
              </a:ext>
            </a:extLst>
          </p:cNvPr>
          <p:cNvCxnSpPr>
            <a:cxnSpLocks/>
            <a:stCxn id="14" idx="0"/>
          </p:cNvCxnSpPr>
          <p:nvPr/>
        </p:nvCxnSpPr>
        <p:spPr>
          <a:xfrm flipH="1" flipV="1">
            <a:off x="1459261" y="2646362"/>
            <a:ext cx="391458" cy="17351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763F1782-9C68-CE34-7420-CCC9A7023A44}"/>
              </a:ext>
            </a:extLst>
          </p:cNvPr>
          <p:cNvCxnSpPr>
            <a:cxnSpLocks/>
            <a:stCxn id="24" idx="3"/>
            <a:endCxn id="5" idx="0"/>
          </p:cNvCxnSpPr>
          <p:nvPr/>
        </p:nvCxnSpPr>
        <p:spPr>
          <a:xfrm>
            <a:off x="1152368" y="1646153"/>
            <a:ext cx="84745" cy="39753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B5F0F17D-A58C-0EC9-BE6E-44AF79386802}"/>
              </a:ext>
            </a:extLst>
          </p:cNvPr>
          <p:cNvCxnSpPr>
            <a:cxnSpLocks/>
          </p:cNvCxnSpPr>
          <p:nvPr/>
        </p:nvCxnSpPr>
        <p:spPr>
          <a:xfrm>
            <a:off x="3998810" y="1525063"/>
            <a:ext cx="274645" cy="25860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83D6992-8A33-0DE9-C79E-E6A37C24350B}"/>
              </a:ext>
            </a:extLst>
          </p:cNvPr>
          <p:cNvCxnSpPr>
            <a:cxnSpLocks/>
          </p:cNvCxnSpPr>
          <p:nvPr/>
        </p:nvCxnSpPr>
        <p:spPr>
          <a:xfrm>
            <a:off x="6943193" y="2146065"/>
            <a:ext cx="896114" cy="3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78EC2A1F-BB05-B9F8-1308-A3F2E0C3F2A7}"/>
              </a:ext>
            </a:extLst>
          </p:cNvPr>
          <p:cNvCxnSpPr>
            <a:cxnSpLocks/>
          </p:cNvCxnSpPr>
          <p:nvPr/>
        </p:nvCxnSpPr>
        <p:spPr>
          <a:xfrm flipV="1">
            <a:off x="6955786" y="1377605"/>
            <a:ext cx="0" cy="78779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8EA0B288-6E1F-6970-F92E-167680224968}"/>
                  </a:ext>
                </a:extLst>
              </p:cNvPr>
              <p:cNvSpPr txBox="1"/>
              <p:nvPr/>
            </p:nvSpPr>
            <p:spPr>
              <a:xfrm>
                <a:off x="7879386" y="2036825"/>
                <a:ext cx="12971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8EA0B288-6E1F-6970-F92E-1676802249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9386" y="2036825"/>
                <a:ext cx="129714" cy="184666"/>
              </a:xfrm>
              <a:prstGeom prst="rect">
                <a:avLst/>
              </a:prstGeom>
              <a:blipFill>
                <a:blip r:embed="rId8"/>
                <a:stretch>
                  <a:fillRect l="-18182" r="-9091" b="-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E2B5EF3-82BA-7E8F-7AC9-3202C2FF3857}"/>
                  </a:ext>
                </a:extLst>
              </p:cNvPr>
              <p:cNvSpPr txBox="1"/>
              <p:nvPr/>
            </p:nvSpPr>
            <p:spPr>
              <a:xfrm>
                <a:off x="7048650" y="1309264"/>
                <a:ext cx="132472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E2B5EF3-82BA-7E8F-7AC9-3202C2FF38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48650" y="1309264"/>
                <a:ext cx="132472" cy="184666"/>
              </a:xfrm>
              <a:prstGeom prst="rect">
                <a:avLst/>
              </a:prstGeom>
              <a:blipFill>
                <a:blip r:embed="rId9"/>
                <a:stretch>
                  <a:fillRect l="-16667" r="-25000" b="-3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DE3949F4-355B-DB92-FEFC-FE271179122B}"/>
              </a:ext>
            </a:extLst>
          </p:cNvPr>
          <p:cNvCxnSpPr>
            <a:cxnSpLocks/>
          </p:cNvCxnSpPr>
          <p:nvPr/>
        </p:nvCxnSpPr>
        <p:spPr>
          <a:xfrm flipV="1">
            <a:off x="6202922" y="2160551"/>
            <a:ext cx="0" cy="787791"/>
          </a:xfrm>
          <a:prstGeom prst="line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829526A-BE75-D535-D1CE-4E66EEAFA39E}"/>
              </a:ext>
            </a:extLst>
          </p:cNvPr>
          <p:cNvCxnSpPr>
            <a:cxnSpLocks/>
          </p:cNvCxnSpPr>
          <p:nvPr/>
        </p:nvCxnSpPr>
        <p:spPr>
          <a:xfrm>
            <a:off x="6065303" y="2160551"/>
            <a:ext cx="877129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428C501-0F60-B7EA-B123-4BA11F4ECFB0}"/>
              </a:ext>
            </a:extLst>
          </p:cNvPr>
          <p:cNvCxnSpPr>
            <a:cxnSpLocks/>
          </p:cNvCxnSpPr>
          <p:nvPr/>
        </p:nvCxnSpPr>
        <p:spPr>
          <a:xfrm>
            <a:off x="6065303" y="2964711"/>
            <a:ext cx="737057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6D4F5FC7-E63A-5B30-20C4-ABF063378A0A}"/>
                  </a:ext>
                </a:extLst>
              </p:cNvPr>
              <p:cNvSpPr txBox="1"/>
              <p:nvPr/>
            </p:nvSpPr>
            <p:spPr>
              <a:xfrm>
                <a:off x="5987872" y="2403633"/>
                <a:ext cx="214354" cy="19928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6D4F5FC7-E63A-5B30-20C4-ABF063378A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87872" y="2403633"/>
                <a:ext cx="214354" cy="199285"/>
              </a:xfrm>
              <a:prstGeom prst="rect">
                <a:avLst/>
              </a:prstGeom>
              <a:blipFill>
                <a:blip r:embed="rId10"/>
                <a:stretch>
                  <a:fillRect l="-16667" r="-5556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C97E5FDC-5292-79F1-C07D-2067C0E24F73}"/>
                  </a:ext>
                </a:extLst>
              </p:cNvPr>
              <p:cNvSpPr txBox="1"/>
              <p:nvPr/>
            </p:nvSpPr>
            <p:spPr>
              <a:xfrm>
                <a:off x="6251189" y="2620591"/>
                <a:ext cx="201850" cy="19928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𝛿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C97E5FDC-5292-79F1-C07D-2067C0E24F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51189" y="2620591"/>
                <a:ext cx="201850" cy="199285"/>
              </a:xfrm>
              <a:prstGeom prst="rect">
                <a:avLst/>
              </a:prstGeom>
              <a:blipFill>
                <a:blip r:embed="rId11"/>
                <a:stretch>
                  <a:fillRect l="-17647" b="-117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B12E32F6-F033-00B3-7618-14B436D0414D}"/>
              </a:ext>
            </a:extLst>
          </p:cNvPr>
          <p:cNvCxnSpPr>
            <a:cxnSpLocks/>
          </p:cNvCxnSpPr>
          <p:nvPr/>
        </p:nvCxnSpPr>
        <p:spPr>
          <a:xfrm>
            <a:off x="6276232" y="2522610"/>
            <a:ext cx="28616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3DABB845-B5A9-73B8-F068-47844303F130}"/>
              </a:ext>
            </a:extLst>
          </p:cNvPr>
          <p:cNvCxnSpPr>
            <a:cxnSpLocks/>
          </p:cNvCxnSpPr>
          <p:nvPr/>
        </p:nvCxnSpPr>
        <p:spPr>
          <a:xfrm flipV="1">
            <a:off x="6484795" y="2510851"/>
            <a:ext cx="0" cy="453860"/>
          </a:xfrm>
          <a:prstGeom prst="line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11F87FC5-F39B-3A79-6D5B-A890EA1EC1DD}"/>
              </a:ext>
            </a:extLst>
          </p:cNvPr>
          <p:cNvCxnSpPr>
            <a:cxnSpLocks/>
          </p:cNvCxnSpPr>
          <p:nvPr/>
        </p:nvCxnSpPr>
        <p:spPr>
          <a:xfrm flipV="1">
            <a:off x="6955786" y="2181126"/>
            <a:ext cx="0" cy="1401408"/>
          </a:xfrm>
          <a:prstGeom prst="line">
            <a:avLst/>
          </a:prstGeom>
          <a:ln w="1270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1E1E49EC-1243-F489-21E3-528779403824}"/>
              </a:ext>
            </a:extLst>
          </p:cNvPr>
          <p:cNvCxnSpPr>
            <a:cxnSpLocks/>
          </p:cNvCxnSpPr>
          <p:nvPr/>
        </p:nvCxnSpPr>
        <p:spPr>
          <a:xfrm flipV="1">
            <a:off x="6816632" y="2947288"/>
            <a:ext cx="0" cy="635246"/>
          </a:xfrm>
          <a:prstGeom prst="line">
            <a:avLst/>
          </a:prstGeom>
          <a:ln w="1270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1EE0F2A9-7411-CD2B-2A85-E7D6125998F6}"/>
              </a:ext>
            </a:extLst>
          </p:cNvPr>
          <p:cNvCxnSpPr>
            <a:cxnSpLocks/>
          </p:cNvCxnSpPr>
          <p:nvPr/>
        </p:nvCxnSpPr>
        <p:spPr>
          <a:xfrm flipV="1">
            <a:off x="6561243" y="2964711"/>
            <a:ext cx="0" cy="610779"/>
          </a:xfrm>
          <a:prstGeom prst="line">
            <a:avLst/>
          </a:prstGeom>
          <a:ln w="1270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A6481328-E6DE-84B1-9568-A25268554C00}"/>
                  </a:ext>
                </a:extLst>
              </p:cNvPr>
              <p:cNvSpPr txBox="1"/>
              <p:nvPr/>
            </p:nvSpPr>
            <p:spPr>
              <a:xfrm>
                <a:off x="6838849" y="3558118"/>
                <a:ext cx="20980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A6481328-E6DE-84B1-9568-A25268554C0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8849" y="3558118"/>
                <a:ext cx="209801" cy="184666"/>
              </a:xfrm>
              <a:prstGeom prst="rect">
                <a:avLst/>
              </a:prstGeom>
              <a:blipFill>
                <a:blip r:embed="rId12"/>
                <a:stretch>
                  <a:fillRect l="-11765" r="-5882"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376D5222-84C8-BEBB-984C-43D15A651975}"/>
                  </a:ext>
                </a:extLst>
              </p:cNvPr>
              <p:cNvSpPr txBox="1"/>
              <p:nvPr/>
            </p:nvSpPr>
            <p:spPr>
              <a:xfrm>
                <a:off x="6619335" y="3454718"/>
                <a:ext cx="19729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𝛿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376D5222-84C8-BEBB-984C-43D15A6519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19335" y="3454718"/>
                <a:ext cx="197297" cy="184666"/>
              </a:xfrm>
              <a:prstGeom prst="rect">
                <a:avLst/>
              </a:prstGeom>
              <a:blipFill>
                <a:blip r:embed="rId13"/>
                <a:stretch>
                  <a:fillRect l="-18750" r="-6250"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6D2019E1-E2C5-3491-BE9E-54285B30C4EC}"/>
              </a:ext>
            </a:extLst>
          </p:cNvPr>
          <p:cNvCxnSpPr>
            <a:cxnSpLocks/>
          </p:cNvCxnSpPr>
          <p:nvPr/>
        </p:nvCxnSpPr>
        <p:spPr>
          <a:xfrm>
            <a:off x="6568875" y="3447024"/>
            <a:ext cx="260304" cy="0"/>
          </a:xfrm>
          <a:prstGeom prst="line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D09808C2-95F9-9933-9B8A-C08904AB238F}"/>
              </a:ext>
            </a:extLst>
          </p:cNvPr>
          <p:cNvCxnSpPr>
            <a:cxnSpLocks/>
          </p:cNvCxnSpPr>
          <p:nvPr/>
        </p:nvCxnSpPr>
        <p:spPr>
          <a:xfrm>
            <a:off x="6816632" y="3547051"/>
            <a:ext cx="139154" cy="0"/>
          </a:xfrm>
          <a:prstGeom prst="line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46280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7C9DD7B-2BBE-8C7A-AF52-D83A2E7E468B}"/>
              </a:ext>
            </a:extLst>
          </p:cNvPr>
          <p:cNvSpPr/>
          <p:nvPr/>
        </p:nvSpPr>
        <p:spPr>
          <a:xfrm>
            <a:off x="1573219" y="2122889"/>
            <a:ext cx="1645920" cy="42141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3CBAD21F-A3B3-3417-929B-803B9E734E99}"/>
              </a:ext>
            </a:extLst>
          </p:cNvPr>
          <p:cNvSpPr/>
          <p:nvPr/>
        </p:nvSpPr>
        <p:spPr>
          <a:xfrm>
            <a:off x="1573218" y="2122888"/>
            <a:ext cx="1645919" cy="421419"/>
          </a:xfrm>
          <a:prstGeom prst="ellipse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2F2C4F9-7E13-97A7-481D-D97F7183B959}"/>
              </a:ext>
            </a:extLst>
          </p:cNvPr>
          <p:cNvSpPr/>
          <p:nvPr/>
        </p:nvSpPr>
        <p:spPr>
          <a:xfrm>
            <a:off x="1280345" y="2011571"/>
            <a:ext cx="2256846" cy="628153"/>
          </a:xfrm>
          <a:prstGeom prst="ellipse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333732-A6EC-AD10-9D41-308362FC9193}"/>
              </a:ext>
            </a:extLst>
          </p:cNvPr>
          <p:cNvSpPr/>
          <p:nvPr/>
        </p:nvSpPr>
        <p:spPr>
          <a:xfrm rot="19495825">
            <a:off x="1919610" y="2770272"/>
            <a:ext cx="1645920" cy="421419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FE4B6FE-4578-1B94-FE59-08C438C65E2C}"/>
              </a:ext>
            </a:extLst>
          </p:cNvPr>
          <p:cNvSpPr/>
          <p:nvPr/>
        </p:nvSpPr>
        <p:spPr>
          <a:xfrm rot="19495825">
            <a:off x="1919609" y="2770271"/>
            <a:ext cx="1645919" cy="421419"/>
          </a:xfrm>
          <a:prstGeom prst="ellipse">
            <a:avLst/>
          </a:prstGeom>
          <a:noFill/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CFF7687-0131-BDA4-CB83-096F43879D6F}"/>
              </a:ext>
            </a:extLst>
          </p:cNvPr>
          <p:cNvSpPr/>
          <p:nvPr/>
        </p:nvSpPr>
        <p:spPr>
          <a:xfrm rot="19495825">
            <a:off x="1626736" y="2658954"/>
            <a:ext cx="2256846" cy="628153"/>
          </a:xfrm>
          <a:prstGeom prst="ellipse">
            <a:avLst/>
          </a:prstGeom>
          <a:noFill/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E156F7-6FD5-1646-32DF-D76F5A72AD89}"/>
              </a:ext>
            </a:extLst>
          </p:cNvPr>
          <p:cNvSpPr/>
          <p:nvPr/>
        </p:nvSpPr>
        <p:spPr>
          <a:xfrm>
            <a:off x="2217815" y="3737643"/>
            <a:ext cx="128825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Rectangular int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400E6FF-AF8A-AFAE-D10B-65CBCA685C60}"/>
                  </a:ext>
                </a:extLst>
              </p:cNvPr>
              <p:cNvSpPr txBox="1"/>
              <p:nvPr/>
            </p:nvSpPr>
            <p:spPr>
              <a:xfrm>
                <a:off x="2217815" y="2316559"/>
                <a:ext cx="19139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400E6FF-AF8A-AFAE-D10B-65CBCA685C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17815" y="2316559"/>
                <a:ext cx="191399" cy="184666"/>
              </a:xfrm>
              <a:prstGeom prst="rect">
                <a:avLst/>
              </a:prstGeom>
              <a:blipFill>
                <a:blip r:embed="rId3"/>
                <a:stretch>
                  <a:fillRect l="-12500" r="-12500" b="-2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9FD94C3-FA0E-1307-502D-913C856FC74E}"/>
                  </a:ext>
                </a:extLst>
              </p:cNvPr>
              <p:cNvSpPr txBox="1"/>
              <p:nvPr/>
            </p:nvSpPr>
            <p:spPr>
              <a:xfrm>
                <a:off x="2596609" y="3062816"/>
                <a:ext cx="283347" cy="1995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9FD94C3-FA0E-1307-502D-913C856FC7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6609" y="3062816"/>
                <a:ext cx="283347" cy="199542"/>
              </a:xfrm>
              <a:prstGeom prst="rect">
                <a:avLst/>
              </a:prstGeom>
              <a:blipFill>
                <a:blip r:embed="rId4"/>
                <a:stretch>
                  <a:fillRect b="-176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Oval 10">
            <a:extLst>
              <a:ext uri="{FF2B5EF4-FFF2-40B4-BE49-F238E27FC236}">
                <a16:creationId xmlns:a16="http://schemas.microsoft.com/office/drawing/2014/main" id="{65D95197-44E2-2EFB-AE47-F75C9EE9C06C}"/>
              </a:ext>
            </a:extLst>
          </p:cNvPr>
          <p:cNvSpPr/>
          <p:nvPr/>
        </p:nvSpPr>
        <p:spPr>
          <a:xfrm>
            <a:off x="2373501" y="2325323"/>
            <a:ext cx="79513" cy="8073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8D865EF-7C54-1C98-02EB-028102BC57D8}"/>
              </a:ext>
            </a:extLst>
          </p:cNvPr>
          <p:cNvSpPr/>
          <p:nvPr/>
        </p:nvSpPr>
        <p:spPr>
          <a:xfrm>
            <a:off x="2686362" y="2970438"/>
            <a:ext cx="79513" cy="8073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1F324C3-0945-02E9-F9B3-7D6CDA24C9D5}"/>
                  </a:ext>
                </a:extLst>
              </p:cNvPr>
              <p:cNvSpPr txBox="1"/>
              <p:nvPr/>
            </p:nvSpPr>
            <p:spPr>
              <a:xfrm>
                <a:off x="2879956" y="3919733"/>
                <a:ext cx="283347" cy="1995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1F324C3-0945-02E9-F9B3-7D6CDA24C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79956" y="3919733"/>
                <a:ext cx="283347" cy="199542"/>
              </a:xfrm>
              <a:prstGeom prst="rect">
                <a:avLst/>
              </a:prstGeom>
              <a:blipFill>
                <a:blip r:embed="rId5"/>
                <a:stretch>
                  <a:fillRect b="-176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F1D9420-BC47-ECD6-DD6A-635C94721A24}"/>
              </a:ext>
            </a:extLst>
          </p:cNvPr>
          <p:cNvCxnSpPr>
            <a:cxnSpLocks/>
          </p:cNvCxnSpPr>
          <p:nvPr/>
        </p:nvCxnSpPr>
        <p:spPr>
          <a:xfrm flipH="1" flipV="1">
            <a:off x="2445658" y="3444851"/>
            <a:ext cx="150951" cy="26893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BF299995-AD01-EBA6-92C7-2AF8D7531934}"/>
              </a:ext>
            </a:extLst>
          </p:cNvPr>
          <p:cNvSpPr/>
          <p:nvPr/>
        </p:nvSpPr>
        <p:spPr>
          <a:xfrm>
            <a:off x="979525" y="2811307"/>
            <a:ext cx="121665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Rectangular int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7020D362-49D4-5106-DB52-EAC371D3D030}"/>
                  </a:ext>
                </a:extLst>
              </p:cNvPr>
              <p:cNvSpPr txBox="1"/>
              <p:nvPr/>
            </p:nvSpPr>
            <p:spPr>
              <a:xfrm>
                <a:off x="1675038" y="2980839"/>
                <a:ext cx="283347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7020D362-49D4-5106-DB52-EAC371D3D0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038" y="2980839"/>
                <a:ext cx="283347" cy="184666"/>
              </a:xfrm>
              <a:prstGeom prst="rect">
                <a:avLst/>
              </a:prstGeom>
              <a:blipFill>
                <a:blip r:embed="rId6"/>
                <a:stretch>
                  <a:fillRect b="-187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CEAD9EB-BC1F-12F8-8496-90B66825A431}"/>
              </a:ext>
            </a:extLst>
          </p:cNvPr>
          <p:cNvCxnSpPr>
            <a:cxnSpLocks/>
          </p:cNvCxnSpPr>
          <p:nvPr/>
        </p:nvCxnSpPr>
        <p:spPr>
          <a:xfrm flipV="1">
            <a:off x="1724065" y="2552967"/>
            <a:ext cx="197680" cy="259402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59A1DEE-53E3-4A3D-E6D5-3597C881F308}"/>
              </a:ext>
            </a:extLst>
          </p:cNvPr>
          <p:cNvCxnSpPr>
            <a:cxnSpLocks/>
          </p:cNvCxnSpPr>
          <p:nvPr/>
        </p:nvCxnSpPr>
        <p:spPr>
          <a:xfrm flipH="1" flipV="1">
            <a:off x="3219137" y="2998540"/>
            <a:ext cx="150951" cy="26893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8683342B-17F6-96B7-9F0C-D699B6283E01}"/>
              </a:ext>
            </a:extLst>
          </p:cNvPr>
          <p:cNvCxnSpPr>
            <a:cxnSpLocks/>
          </p:cNvCxnSpPr>
          <p:nvPr/>
        </p:nvCxnSpPr>
        <p:spPr>
          <a:xfrm flipH="1" flipV="1">
            <a:off x="3370088" y="2702309"/>
            <a:ext cx="300510" cy="217995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416FDAE-DAFF-C424-4168-8794E0A5FDAE}"/>
              </a:ext>
            </a:extLst>
          </p:cNvPr>
          <p:cNvSpPr/>
          <p:nvPr/>
        </p:nvSpPr>
        <p:spPr>
          <a:xfrm>
            <a:off x="2792653" y="3251077"/>
            <a:ext cx="148908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Circumscribed</a:t>
            </a:r>
          </a:p>
          <a:p>
            <a:pPr marL="228600"/>
            <a:r>
              <a:rPr lang="en-US" sz="1200" dirty="0">
                <a:latin typeface="Calibri" panose="020F0502020204030204" pitchFamily="34" charset="0"/>
              </a:rPr>
              <a:t>elliptical inte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EB24959-7AC2-9867-BBD0-8B1C2B162E28}"/>
              </a:ext>
            </a:extLst>
          </p:cNvPr>
          <p:cNvSpPr/>
          <p:nvPr/>
        </p:nvSpPr>
        <p:spPr>
          <a:xfrm>
            <a:off x="3506066" y="2721439"/>
            <a:ext cx="121665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Inscribed elliptical int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6278F20A-7CA5-4575-FADF-F44DDC4D99DF}"/>
                  </a:ext>
                </a:extLst>
              </p:cNvPr>
              <p:cNvSpPr txBox="1"/>
              <p:nvPr/>
            </p:nvSpPr>
            <p:spPr>
              <a:xfrm>
                <a:off x="3946626" y="3410973"/>
                <a:ext cx="283347" cy="1995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𝑗𝑐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6278F20A-7CA5-4575-FADF-F44DDC4D99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46626" y="3410973"/>
                <a:ext cx="283347" cy="199542"/>
              </a:xfrm>
              <a:prstGeom prst="rect">
                <a:avLst/>
              </a:prstGeom>
              <a:blipFill>
                <a:blip r:embed="rId7"/>
                <a:stretch>
                  <a:fillRect b="-176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0B41618-E9C0-B738-F87D-ADE0E53317C7}"/>
                  </a:ext>
                </a:extLst>
              </p:cNvPr>
              <p:cNvSpPr txBox="1"/>
              <p:nvPr/>
            </p:nvSpPr>
            <p:spPr>
              <a:xfrm>
                <a:off x="4007603" y="3054325"/>
                <a:ext cx="283347" cy="1995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𝑗𝑖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0B41618-E9C0-B738-F87D-ADE0E53317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07603" y="3054325"/>
                <a:ext cx="283347" cy="199542"/>
              </a:xfrm>
              <a:prstGeom prst="rect">
                <a:avLst/>
              </a:prstGeom>
              <a:blipFill>
                <a:blip r:embed="rId8"/>
                <a:stretch>
                  <a:fillRect b="-176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8BC332D6-4BD3-BEB4-4EA1-DAD98B95AB33}"/>
              </a:ext>
            </a:extLst>
          </p:cNvPr>
          <p:cNvCxnSpPr>
            <a:cxnSpLocks/>
          </p:cNvCxnSpPr>
          <p:nvPr/>
        </p:nvCxnSpPr>
        <p:spPr>
          <a:xfrm>
            <a:off x="2999297" y="1787988"/>
            <a:ext cx="67168" cy="421419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0CDF8B91-F9FF-F234-6ACE-76C629B39931}"/>
              </a:ext>
            </a:extLst>
          </p:cNvPr>
          <p:cNvCxnSpPr>
            <a:cxnSpLocks/>
          </p:cNvCxnSpPr>
          <p:nvPr/>
        </p:nvCxnSpPr>
        <p:spPr>
          <a:xfrm>
            <a:off x="2023150" y="1824114"/>
            <a:ext cx="249446" cy="184323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60888F85-44D4-54F5-0CB1-51BA32F55577}"/>
              </a:ext>
            </a:extLst>
          </p:cNvPr>
          <p:cNvSpPr/>
          <p:nvPr/>
        </p:nvSpPr>
        <p:spPr>
          <a:xfrm>
            <a:off x="992045" y="1399249"/>
            <a:ext cx="148908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Circumscribed</a:t>
            </a:r>
          </a:p>
          <a:p>
            <a:pPr marL="228600"/>
            <a:r>
              <a:rPr lang="en-US" sz="1200" dirty="0">
                <a:latin typeface="Calibri" panose="020F0502020204030204" pitchFamily="34" charset="0"/>
              </a:rPr>
              <a:t>elliptical inten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4B5972C-893D-81C8-88AF-505F5B201BC2}"/>
              </a:ext>
            </a:extLst>
          </p:cNvPr>
          <p:cNvSpPr/>
          <p:nvPr/>
        </p:nvSpPr>
        <p:spPr>
          <a:xfrm>
            <a:off x="2435919" y="1262171"/>
            <a:ext cx="118911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Inscribed elliptical int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DD006FA4-5FD0-D8EE-1F29-7DEEAEE1A86E}"/>
                  </a:ext>
                </a:extLst>
              </p:cNvPr>
              <p:cNvSpPr txBox="1"/>
              <p:nvPr/>
            </p:nvSpPr>
            <p:spPr>
              <a:xfrm>
                <a:off x="1484542" y="1723988"/>
                <a:ext cx="283347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𝑖𝑐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DD006FA4-5FD0-D8EE-1F29-7DEEAEE1A8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84542" y="1723988"/>
                <a:ext cx="283347" cy="184666"/>
              </a:xfrm>
              <a:prstGeom prst="rect">
                <a:avLst/>
              </a:prstGeom>
              <a:blipFill>
                <a:blip r:embed="rId9"/>
                <a:stretch>
                  <a:fillRect b="-2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E91A557E-ED6F-C508-FF37-A4280A7878A5}"/>
                  </a:ext>
                </a:extLst>
              </p:cNvPr>
              <p:cNvSpPr txBox="1"/>
              <p:nvPr/>
            </p:nvSpPr>
            <p:spPr>
              <a:xfrm>
                <a:off x="2952149" y="1582487"/>
                <a:ext cx="283347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𝑖𝑖</m:t>
                          </m:r>
                        </m:sub>
                      </m:sSub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E91A557E-ED6F-C508-FF37-A4280A7878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2149" y="1582487"/>
                <a:ext cx="283347" cy="184666"/>
              </a:xfrm>
              <a:prstGeom prst="rect">
                <a:avLst/>
              </a:prstGeom>
              <a:blipFill>
                <a:blip r:embed="rId10"/>
                <a:stretch>
                  <a:fillRect b="-187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8" name="Rectangle 67">
            <a:extLst>
              <a:ext uri="{FF2B5EF4-FFF2-40B4-BE49-F238E27FC236}">
                <a16:creationId xmlns:a16="http://schemas.microsoft.com/office/drawing/2014/main" id="{3306AA64-EB2D-98BE-8E3F-9236796705E5}"/>
              </a:ext>
            </a:extLst>
          </p:cNvPr>
          <p:cNvSpPr/>
          <p:nvPr/>
        </p:nvSpPr>
        <p:spPr>
          <a:xfrm>
            <a:off x="4954742" y="2800084"/>
            <a:ext cx="139665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Lower bound of the collision ris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A436ABD4-AD29-A2D9-0139-0904C7BBE3C5}"/>
                  </a:ext>
                </a:extLst>
              </p:cNvPr>
              <p:cNvSpPr txBox="1"/>
              <p:nvPr/>
            </p:nvSpPr>
            <p:spPr>
              <a:xfrm>
                <a:off x="5575268" y="3143213"/>
                <a:ext cx="283347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𝑙𝑏</m:t>
                          </m:r>
                        </m:sub>
                      </m:sSub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A436ABD4-AD29-A2D9-0139-0904C7BBE3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75268" y="3143213"/>
                <a:ext cx="283347" cy="184666"/>
              </a:xfrm>
              <a:prstGeom prst="rect">
                <a:avLst/>
              </a:prstGeom>
              <a:blipFill>
                <a:blip r:embed="rId11"/>
                <a:stretch>
                  <a:fillRect l="-26087" r="-34783" b="-3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0" name="TextBox 69">
            <a:extLst>
              <a:ext uri="{FF2B5EF4-FFF2-40B4-BE49-F238E27FC236}">
                <a16:creationId xmlns:a16="http://schemas.microsoft.com/office/drawing/2014/main" id="{68473A98-9C94-002C-F55F-474926BE9634}"/>
              </a:ext>
            </a:extLst>
          </p:cNvPr>
          <p:cNvSpPr txBox="1"/>
          <p:nvPr/>
        </p:nvSpPr>
        <p:spPr>
          <a:xfrm>
            <a:off x="7009262" y="2207297"/>
            <a:ext cx="1438298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UA-UA collision risk</a:t>
            </a:r>
          </a:p>
          <a:p>
            <a:pPr algn="ctr"/>
            <a:endParaRPr lang="en-US" sz="1000" dirty="0"/>
          </a:p>
        </p:txBody>
      </p:sp>
      <p:sp>
        <p:nvSpPr>
          <p:cNvPr id="71" name="Right Arrow 70">
            <a:extLst>
              <a:ext uri="{FF2B5EF4-FFF2-40B4-BE49-F238E27FC236}">
                <a16:creationId xmlns:a16="http://schemas.microsoft.com/office/drawing/2014/main" id="{FBDCEBFF-3FE5-0439-8E5F-C38085DE0283}"/>
              </a:ext>
            </a:extLst>
          </p:cNvPr>
          <p:cNvSpPr/>
          <p:nvPr/>
        </p:nvSpPr>
        <p:spPr>
          <a:xfrm>
            <a:off x="6466232" y="2464172"/>
            <a:ext cx="344558" cy="171911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8934275-EAB2-5673-B00F-E0E0B0A4CEBD}"/>
              </a:ext>
            </a:extLst>
          </p:cNvPr>
          <p:cNvSpPr/>
          <p:nvPr/>
        </p:nvSpPr>
        <p:spPr>
          <a:xfrm>
            <a:off x="5143500" y="2790071"/>
            <a:ext cx="1085866" cy="59468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ACE2826-D04B-6103-6A09-1962C2483B60}"/>
              </a:ext>
            </a:extLst>
          </p:cNvPr>
          <p:cNvSpPr/>
          <p:nvPr/>
        </p:nvSpPr>
        <p:spPr>
          <a:xfrm>
            <a:off x="4936637" y="1922078"/>
            <a:ext cx="139665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/>
            <a:r>
              <a:rPr lang="en-US" sz="1200" dirty="0">
                <a:latin typeface="Calibri" panose="020F0502020204030204" pitchFamily="34" charset="0"/>
              </a:rPr>
              <a:t>Upper bound of the collision ris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FCF4A652-0463-85BC-27F5-F4CDBF436FC4}"/>
                  </a:ext>
                </a:extLst>
              </p:cNvPr>
              <p:cNvSpPr txBox="1"/>
              <p:nvPr/>
            </p:nvSpPr>
            <p:spPr>
              <a:xfrm>
                <a:off x="5557163" y="2265207"/>
                <a:ext cx="283347" cy="1989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𝑢𝑝</m:t>
                          </m:r>
                        </m:sub>
                      </m:sSub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FCF4A652-0463-85BC-27F5-F4CDBF436F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57163" y="2265207"/>
                <a:ext cx="283347" cy="198965"/>
              </a:xfrm>
              <a:prstGeom prst="rect">
                <a:avLst/>
              </a:prstGeom>
              <a:blipFill>
                <a:blip r:embed="rId12"/>
                <a:stretch>
                  <a:fillRect l="-21739" r="-47826" b="-312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7" name="Rectangle 76">
            <a:extLst>
              <a:ext uri="{FF2B5EF4-FFF2-40B4-BE49-F238E27FC236}">
                <a16:creationId xmlns:a16="http://schemas.microsoft.com/office/drawing/2014/main" id="{BE9E480F-8E6E-47DD-956D-14A7CD4B8275}"/>
              </a:ext>
            </a:extLst>
          </p:cNvPr>
          <p:cNvSpPr/>
          <p:nvPr/>
        </p:nvSpPr>
        <p:spPr>
          <a:xfrm>
            <a:off x="5125395" y="1912065"/>
            <a:ext cx="1085866" cy="59468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ight Arrow 77">
            <a:extLst>
              <a:ext uri="{FF2B5EF4-FFF2-40B4-BE49-F238E27FC236}">
                <a16:creationId xmlns:a16="http://schemas.microsoft.com/office/drawing/2014/main" id="{5A7B57F4-F631-AED7-4494-BFE02EBA08D5}"/>
              </a:ext>
            </a:extLst>
          </p:cNvPr>
          <p:cNvSpPr/>
          <p:nvPr/>
        </p:nvSpPr>
        <p:spPr>
          <a:xfrm rot="20358793">
            <a:off x="4393783" y="2239367"/>
            <a:ext cx="622064" cy="171911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ight Arrow 78">
            <a:extLst>
              <a:ext uri="{FF2B5EF4-FFF2-40B4-BE49-F238E27FC236}">
                <a16:creationId xmlns:a16="http://schemas.microsoft.com/office/drawing/2014/main" id="{BCD15F69-D0E9-5CE2-888D-1A64E93F74C3}"/>
              </a:ext>
            </a:extLst>
          </p:cNvPr>
          <p:cNvSpPr/>
          <p:nvPr/>
        </p:nvSpPr>
        <p:spPr>
          <a:xfrm rot="1580198">
            <a:off x="4409917" y="2790369"/>
            <a:ext cx="622064" cy="171911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A3D83CF8-EA5D-84FF-F0C4-BA14E144882D}"/>
                  </a:ext>
                </a:extLst>
              </p:cNvPr>
              <p:cNvSpPr txBox="1"/>
              <p:nvPr/>
            </p:nvSpPr>
            <p:spPr>
              <a:xfrm>
                <a:off x="7325444" y="2401742"/>
                <a:ext cx="283347" cy="1989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𝑢𝑝</m:t>
                          </m:r>
                        </m:sub>
                      </m:sSub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</a:rPr>
                            <m:t>𝑙𝑏</m:t>
                          </m:r>
                        </m:sub>
                      </m:sSub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200" dirty="0"/>
              </a:p>
            </p:txBody>
          </p:sp>
        </mc:Choice>
        <mc:Fallback xmlns="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A3D83CF8-EA5D-84FF-F0C4-BA14E14488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25444" y="2401742"/>
                <a:ext cx="283347" cy="198965"/>
              </a:xfrm>
              <a:prstGeom prst="rect">
                <a:avLst/>
              </a:prstGeom>
              <a:blipFill>
                <a:blip r:embed="rId13"/>
                <a:stretch>
                  <a:fillRect l="-20833" r="-145833" b="-2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itle 1">
            <a:extLst>
              <a:ext uri="{FF2B5EF4-FFF2-40B4-BE49-F238E27FC236}">
                <a16:creationId xmlns:a16="http://schemas.microsoft.com/office/drawing/2014/main" id="{2B800A6D-37B4-5F95-0DC1-BEDAFC489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45" y="43033"/>
            <a:ext cx="9154133" cy="473202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/>
              <a:t>Volume-base Collision Risk Model: Collision Risk between Rectangular Cuboids</a:t>
            </a:r>
          </a:p>
        </p:txBody>
      </p:sp>
    </p:spTree>
    <p:extLst>
      <p:ext uri="{BB962C8B-B14F-4D97-AF65-F5344CB8AC3E}">
        <p14:creationId xmlns:p14="http://schemas.microsoft.com/office/powerpoint/2010/main" val="24218468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B800A6D-37B4-5F95-0DC1-BEDAFC489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45" y="43033"/>
            <a:ext cx="9154133" cy="473202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/>
              <a:t>Volume-base Collision Risk Model: Examp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DED983A-C8BC-3E84-3699-FC52E06632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054" y="840921"/>
            <a:ext cx="4805509" cy="398417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74FBEDD-E847-919B-F8D3-AEFCB0A4CD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6852" y="1073603"/>
            <a:ext cx="2218709" cy="2996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3464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14" y="66318"/>
            <a:ext cx="8039099" cy="473202"/>
          </a:xfrm>
          <a:prstGeom prst="rect">
            <a:avLst/>
          </a:prstGeom>
          <a:ln>
            <a:noFill/>
          </a:ln>
        </p:spPr>
        <p:txBody>
          <a:bodyPr>
            <a:normAutofit fontScale="90000"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/>
              <a:t>Outlin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E02265-93C8-9C00-90AE-A287ADC60647}"/>
              </a:ext>
            </a:extLst>
          </p:cNvPr>
          <p:cNvSpPr txBox="1">
            <a:spLocks/>
          </p:cNvSpPr>
          <p:nvPr/>
        </p:nvSpPr>
        <p:spPr>
          <a:xfrm>
            <a:off x="927847" y="852682"/>
            <a:ext cx="7342094" cy="3321997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ＭＳ Ｐゴシック"/>
              </a:defRPr>
            </a:lvl1pPr>
            <a:lvl2pPr marL="557213" indent="-214313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8572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2001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5430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endParaRPr lang="en-US" sz="1800" b="1">
              <a:solidFill>
                <a:srgbClr val="1F4E79"/>
              </a:solidFill>
              <a:latin typeface="Calibri" pitchFamily="34" charset="0"/>
              <a:ea typeface="ＭＳ Ｐゴシック"/>
            </a:endParaRPr>
          </a:p>
          <a:p>
            <a:pPr marL="0" indent="0">
              <a:spcBef>
                <a:spcPts val="450"/>
              </a:spcBef>
              <a:buFont typeface="Arial" charset="0"/>
              <a:buNone/>
            </a:pPr>
            <a:endParaRPr lang="en-US" sz="225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4654CC-1599-B4F4-FD2A-7A89603A8E8B}"/>
              </a:ext>
            </a:extLst>
          </p:cNvPr>
          <p:cNvSpPr txBox="1"/>
          <p:nvPr/>
        </p:nvSpPr>
        <p:spPr>
          <a:xfrm>
            <a:off x="1430801" y="852682"/>
            <a:ext cx="6336186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ethod of Compli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ich Collision Risk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TM USS Specific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hod of Compliance for Strategic Coordination Ser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aseline ASTM require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Volume-based Collision Risk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low Diagram: test harness and data collec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nsitivity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nclusions and Future Work</a:t>
            </a:r>
            <a:endParaRPr lang="en-US" sz="16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4622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Box 110">
            <a:extLst>
              <a:ext uri="{FF2B5EF4-FFF2-40B4-BE49-F238E27FC236}">
                <a16:creationId xmlns:a16="http://schemas.microsoft.com/office/drawing/2014/main" id="{F313279B-4254-0078-64B4-FE611AC674F2}"/>
              </a:ext>
            </a:extLst>
          </p:cNvPr>
          <p:cNvSpPr txBox="1"/>
          <p:nvPr/>
        </p:nvSpPr>
        <p:spPr>
          <a:xfrm>
            <a:off x="63524" y="829524"/>
            <a:ext cx="942991" cy="400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TM requirement</a:t>
            </a:r>
          </a:p>
        </p:txBody>
      </p:sp>
      <p:sp>
        <p:nvSpPr>
          <p:cNvPr id="64" name="Freeform 63">
            <a:extLst>
              <a:ext uri="{FF2B5EF4-FFF2-40B4-BE49-F238E27FC236}">
                <a16:creationId xmlns:a16="http://schemas.microsoft.com/office/drawing/2014/main" id="{DD37DF22-D5C8-5245-9D80-7278ABB6A716}"/>
              </a:ext>
            </a:extLst>
          </p:cNvPr>
          <p:cNvSpPr/>
          <p:nvPr/>
        </p:nvSpPr>
        <p:spPr>
          <a:xfrm>
            <a:off x="5589438" y="1638340"/>
            <a:ext cx="2635624" cy="2742213"/>
          </a:xfrm>
          <a:custGeom>
            <a:avLst/>
            <a:gdLst>
              <a:gd name="connsiteX0" fmla="*/ 2635624 w 2635624"/>
              <a:gd name="connsiteY0" fmla="*/ 0 h 2757870"/>
              <a:gd name="connsiteX1" fmla="*/ 4890 w 2635624"/>
              <a:gd name="connsiteY1" fmla="*/ 4890 h 2757870"/>
              <a:gd name="connsiteX2" fmla="*/ 0 w 2635624"/>
              <a:gd name="connsiteY2" fmla="*/ 2757870 h 2757870"/>
              <a:gd name="connsiteX3" fmla="*/ 1530520 w 2635624"/>
              <a:gd name="connsiteY3" fmla="*/ 2757870 h 2757870"/>
              <a:gd name="connsiteX4" fmla="*/ 1525630 w 2635624"/>
              <a:gd name="connsiteY4" fmla="*/ 1198011 h 2757870"/>
              <a:gd name="connsiteX5" fmla="*/ 2635624 w 2635624"/>
              <a:gd name="connsiteY5" fmla="*/ 1207791 h 2757870"/>
              <a:gd name="connsiteX6" fmla="*/ 2635624 w 2635624"/>
              <a:gd name="connsiteY6" fmla="*/ 0 h 2757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35624" h="2757870">
                <a:moveTo>
                  <a:pt x="2635624" y="0"/>
                </a:moveTo>
                <a:lnTo>
                  <a:pt x="4890" y="4890"/>
                </a:lnTo>
                <a:lnTo>
                  <a:pt x="0" y="2757870"/>
                </a:lnTo>
                <a:lnTo>
                  <a:pt x="1530520" y="2757870"/>
                </a:lnTo>
                <a:lnTo>
                  <a:pt x="1525630" y="1198011"/>
                </a:lnTo>
                <a:lnTo>
                  <a:pt x="2635624" y="1207791"/>
                </a:lnTo>
                <a:lnTo>
                  <a:pt x="2635624" y="0"/>
                </a:lnTo>
                <a:close/>
              </a:path>
            </a:pathLst>
          </a:custGeom>
          <a:solidFill>
            <a:srgbClr val="0070C0">
              <a:alpha val="23976"/>
            </a:srgbClr>
          </a:solidFill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45" y="43033"/>
            <a:ext cx="9154133" cy="473202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/>
              <a:t>Flow Diagram: MOC for the Strategic Coordination Services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50A8B81E-95B0-DCC3-F662-C478D6F65FBD}"/>
              </a:ext>
            </a:extLst>
          </p:cNvPr>
          <p:cNvSpPr/>
          <p:nvPr/>
        </p:nvSpPr>
        <p:spPr>
          <a:xfrm>
            <a:off x="857431" y="1359284"/>
            <a:ext cx="1443593" cy="55811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OPIN0010]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iMinConformance = 95%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D88EF5F2-2113-D8B0-1EF9-9F5F713B200A}"/>
              </a:ext>
            </a:extLst>
          </p:cNvPr>
          <p:cNvSpPr/>
          <p:nvPr/>
        </p:nvSpPr>
        <p:spPr>
          <a:xfrm>
            <a:off x="859570" y="2021384"/>
            <a:ext cx="1442002" cy="55811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OPINxxxx]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tribution Type = Normal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8CE7AD5-58CE-C878-0F91-2A0D1BBB8EDD}"/>
              </a:ext>
            </a:extLst>
          </p:cNvPr>
          <p:cNvSpPr/>
          <p:nvPr/>
        </p:nvSpPr>
        <p:spPr>
          <a:xfrm>
            <a:off x="2857866" y="1542923"/>
            <a:ext cx="1060174" cy="876553"/>
          </a:xfrm>
          <a:prstGeom prst="round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Volume-based Collision Risk Model </a:t>
            </a:r>
          </a:p>
        </p:txBody>
      </p:sp>
      <p:sp>
        <p:nvSpPr>
          <p:cNvPr id="32" name="Parallelogram 31">
            <a:extLst>
              <a:ext uri="{FF2B5EF4-FFF2-40B4-BE49-F238E27FC236}">
                <a16:creationId xmlns:a16="http://schemas.microsoft.com/office/drawing/2014/main" id="{B2880A5D-07EB-AB06-C767-A2EEEDD8073F}"/>
              </a:ext>
            </a:extLst>
          </p:cNvPr>
          <p:cNvSpPr/>
          <p:nvPr/>
        </p:nvSpPr>
        <p:spPr>
          <a:xfrm>
            <a:off x="2935356" y="839717"/>
            <a:ext cx="1040296" cy="344557"/>
          </a:xfrm>
          <a:prstGeom prst="parallelogram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Test cas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E9A3F87-55C3-AE40-3F80-C7B3E2BF9EAB}"/>
              </a:ext>
            </a:extLst>
          </p:cNvPr>
          <p:cNvSpPr txBox="1"/>
          <p:nvPr/>
        </p:nvSpPr>
        <p:spPr>
          <a:xfrm>
            <a:off x="4273586" y="1673376"/>
            <a:ext cx="664105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UA-UA collision risk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D40034F8-3B4D-8E5D-9982-E52FFAF01586}"/>
              </a:ext>
            </a:extLst>
          </p:cNvPr>
          <p:cNvSpPr/>
          <p:nvPr/>
        </p:nvSpPr>
        <p:spPr>
          <a:xfrm>
            <a:off x="5826906" y="1879095"/>
            <a:ext cx="1060174" cy="814602"/>
          </a:xfrm>
          <a:prstGeom prst="round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Volume-based Collision Risk Model 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3C374034-CE96-AE44-963E-DE1C6DECF34A}"/>
              </a:ext>
            </a:extLst>
          </p:cNvPr>
          <p:cNvSpPr/>
          <p:nvPr/>
        </p:nvSpPr>
        <p:spPr>
          <a:xfrm>
            <a:off x="5662542" y="814536"/>
            <a:ext cx="1404984" cy="669527"/>
          </a:xfrm>
          <a:prstGeom prst="round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Strategic Conflict Detection Service</a:t>
            </a:r>
          </a:p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(target)</a:t>
            </a:r>
          </a:p>
        </p:txBody>
      </p:sp>
      <p:sp>
        <p:nvSpPr>
          <p:cNvPr id="48" name="Down Arrow 47">
            <a:extLst>
              <a:ext uri="{FF2B5EF4-FFF2-40B4-BE49-F238E27FC236}">
                <a16:creationId xmlns:a16="http://schemas.microsoft.com/office/drawing/2014/main" id="{100C5DC8-97AA-4AA1-93DB-E913A382490F}"/>
              </a:ext>
            </a:extLst>
          </p:cNvPr>
          <p:cNvSpPr/>
          <p:nvPr/>
        </p:nvSpPr>
        <p:spPr>
          <a:xfrm>
            <a:off x="6240608" y="1478981"/>
            <a:ext cx="249382" cy="400111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7212830-1DC5-D553-D37F-2E249F85A258}"/>
              </a:ext>
            </a:extLst>
          </p:cNvPr>
          <p:cNvSpPr txBox="1"/>
          <p:nvPr/>
        </p:nvSpPr>
        <p:spPr>
          <a:xfrm>
            <a:off x="5787306" y="3056324"/>
            <a:ext cx="1134208" cy="46166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UA-UA collision risks</a:t>
            </a:r>
          </a:p>
        </p:txBody>
      </p:sp>
      <p:sp>
        <p:nvSpPr>
          <p:cNvPr id="53" name="Right Arrow 52">
            <a:extLst>
              <a:ext uri="{FF2B5EF4-FFF2-40B4-BE49-F238E27FC236}">
                <a16:creationId xmlns:a16="http://schemas.microsoft.com/office/drawing/2014/main" id="{DE3136B6-BF49-4831-ECB0-380108E563A0}"/>
              </a:ext>
            </a:extLst>
          </p:cNvPr>
          <p:cNvSpPr/>
          <p:nvPr/>
        </p:nvSpPr>
        <p:spPr>
          <a:xfrm rot="5400000">
            <a:off x="6179952" y="2764378"/>
            <a:ext cx="348918" cy="227611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Diamond 54">
            <a:extLst>
              <a:ext uri="{FF2B5EF4-FFF2-40B4-BE49-F238E27FC236}">
                <a16:creationId xmlns:a16="http://schemas.microsoft.com/office/drawing/2014/main" id="{88BC090F-311A-DF75-DB10-4A279E18047E}"/>
              </a:ext>
            </a:extLst>
          </p:cNvPr>
          <p:cNvSpPr/>
          <p:nvPr/>
        </p:nvSpPr>
        <p:spPr>
          <a:xfrm>
            <a:off x="5756615" y="3795003"/>
            <a:ext cx="1216841" cy="461666"/>
          </a:xfrm>
          <a:prstGeom prst="diamond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&lt; TLS?</a:t>
            </a:r>
          </a:p>
        </p:txBody>
      </p:sp>
      <p:sp>
        <p:nvSpPr>
          <p:cNvPr id="56" name="Right Arrow 55">
            <a:extLst>
              <a:ext uri="{FF2B5EF4-FFF2-40B4-BE49-F238E27FC236}">
                <a16:creationId xmlns:a16="http://schemas.microsoft.com/office/drawing/2014/main" id="{2D87DAF8-441B-7DCF-D12F-999D15322E16}"/>
              </a:ext>
            </a:extLst>
          </p:cNvPr>
          <p:cNvSpPr/>
          <p:nvPr/>
        </p:nvSpPr>
        <p:spPr>
          <a:xfrm rot="5400000">
            <a:off x="6230237" y="3548722"/>
            <a:ext cx="269598" cy="227611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C7984E30-79FE-ACA7-F754-A890093F7DA4}"/>
              </a:ext>
            </a:extLst>
          </p:cNvPr>
          <p:cNvSpPr/>
          <p:nvPr/>
        </p:nvSpPr>
        <p:spPr>
          <a:xfrm rot="5400000">
            <a:off x="6211215" y="4325060"/>
            <a:ext cx="307639" cy="170858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973D1D66-D3E6-B90E-B105-C2E9FE69F1F5}"/>
              </a:ext>
            </a:extLst>
          </p:cNvPr>
          <p:cNvSpPr/>
          <p:nvPr/>
        </p:nvSpPr>
        <p:spPr>
          <a:xfrm>
            <a:off x="6977151" y="3992137"/>
            <a:ext cx="312493" cy="172499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662E7D0-B8E1-BA7A-1056-920BC69F747B}"/>
              </a:ext>
            </a:extLst>
          </p:cNvPr>
          <p:cNvSpPr txBox="1"/>
          <p:nvPr/>
        </p:nvSpPr>
        <p:spPr>
          <a:xfrm>
            <a:off x="7267138" y="3942643"/>
            <a:ext cx="601507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Fail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BDCDCF3-4340-66DF-6ABA-4434BE522E56}"/>
              </a:ext>
            </a:extLst>
          </p:cNvPr>
          <p:cNvSpPr txBox="1"/>
          <p:nvPr/>
        </p:nvSpPr>
        <p:spPr>
          <a:xfrm>
            <a:off x="6103191" y="4588900"/>
            <a:ext cx="514161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Pass</a:t>
            </a:r>
          </a:p>
        </p:txBody>
      </p:sp>
      <p:sp>
        <p:nvSpPr>
          <p:cNvPr id="65" name="Right Arrow 64">
            <a:extLst>
              <a:ext uri="{FF2B5EF4-FFF2-40B4-BE49-F238E27FC236}">
                <a16:creationId xmlns:a16="http://schemas.microsoft.com/office/drawing/2014/main" id="{5F7CC73C-BB40-BE7D-1265-E0EAEDB3C721}"/>
              </a:ext>
            </a:extLst>
          </p:cNvPr>
          <p:cNvSpPr/>
          <p:nvPr/>
        </p:nvSpPr>
        <p:spPr>
          <a:xfrm rot="5400000">
            <a:off x="3215673" y="1277643"/>
            <a:ext cx="344558" cy="171911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ight Arrow 66">
            <a:extLst>
              <a:ext uri="{FF2B5EF4-FFF2-40B4-BE49-F238E27FC236}">
                <a16:creationId xmlns:a16="http://schemas.microsoft.com/office/drawing/2014/main" id="{48DF147E-D610-3B9F-7482-3374B74AC60E}"/>
              </a:ext>
            </a:extLst>
          </p:cNvPr>
          <p:cNvSpPr/>
          <p:nvPr/>
        </p:nvSpPr>
        <p:spPr>
          <a:xfrm>
            <a:off x="3920614" y="1851217"/>
            <a:ext cx="344558" cy="171911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Elbow Connector 69">
            <a:extLst>
              <a:ext uri="{FF2B5EF4-FFF2-40B4-BE49-F238E27FC236}">
                <a16:creationId xmlns:a16="http://schemas.microsoft.com/office/drawing/2014/main" id="{6611F1A0-7F71-6921-D388-61E74F202BBC}"/>
              </a:ext>
            </a:extLst>
          </p:cNvPr>
          <p:cNvCxnSpPr>
            <a:cxnSpLocks/>
            <a:stCxn id="11" idx="3"/>
            <a:endCxn id="21" idx="1"/>
          </p:cNvCxnSpPr>
          <p:nvPr/>
        </p:nvCxnSpPr>
        <p:spPr>
          <a:xfrm>
            <a:off x="2301024" y="1638341"/>
            <a:ext cx="556842" cy="342859"/>
          </a:xfrm>
          <a:prstGeom prst="bentConnector3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Elbow Connector 71">
            <a:extLst>
              <a:ext uri="{FF2B5EF4-FFF2-40B4-BE49-F238E27FC236}">
                <a16:creationId xmlns:a16="http://schemas.microsoft.com/office/drawing/2014/main" id="{4B6C3040-80C2-2DE4-8034-CE6E691334E2}"/>
              </a:ext>
            </a:extLst>
          </p:cNvPr>
          <p:cNvCxnSpPr>
            <a:cxnSpLocks/>
            <a:stCxn id="12" idx="3"/>
            <a:endCxn id="21" idx="1"/>
          </p:cNvCxnSpPr>
          <p:nvPr/>
        </p:nvCxnSpPr>
        <p:spPr>
          <a:xfrm flipV="1">
            <a:off x="2301572" y="1981200"/>
            <a:ext cx="556294" cy="319241"/>
          </a:xfrm>
          <a:prstGeom prst="bentConnector3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Rounded Rectangle 77">
            <a:extLst>
              <a:ext uri="{FF2B5EF4-FFF2-40B4-BE49-F238E27FC236}">
                <a16:creationId xmlns:a16="http://schemas.microsoft.com/office/drawing/2014/main" id="{4A3238E9-06A2-4F1F-C90E-CBCFA1191931}"/>
              </a:ext>
            </a:extLst>
          </p:cNvPr>
          <p:cNvSpPr/>
          <p:nvPr/>
        </p:nvSpPr>
        <p:spPr>
          <a:xfrm>
            <a:off x="3600854" y="3429597"/>
            <a:ext cx="1212547" cy="661155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ECF52C9-C15E-E94D-FDAF-864D08B99874}"/>
              </a:ext>
            </a:extLst>
          </p:cNvPr>
          <p:cNvSpPr txBox="1"/>
          <p:nvPr/>
        </p:nvSpPr>
        <p:spPr>
          <a:xfrm>
            <a:off x="3600855" y="3370843"/>
            <a:ext cx="1244083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/>
              <a:t>Operational/testing data</a:t>
            </a:r>
            <a:endParaRPr lang="en-US" sz="1400" i="1" dirty="0"/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536972C2-7FBF-8936-B9EF-2ED00689E236}"/>
              </a:ext>
            </a:extLst>
          </p:cNvPr>
          <p:cNvGrpSpPr/>
          <p:nvPr/>
        </p:nvGrpSpPr>
        <p:grpSpPr>
          <a:xfrm>
            <a:off x="2226360" y="3521933"/>
            <a:ext cx="988990" cy="505689"/>
            <a:chOff x="6741619" y="777182"/>
            <a:chExt cx="977772" cy="378658"/>
          </a:xfrm>
        </p:grpSpPr>
        <p:sp>
          <p:nvSpPr>
            <p:cNvPr id="81" name="Can 80">
              <a:extLst>
                <a:ext uri="{FF2B5EF4-FFF2-40B4-BE49-F238E27FC236}">
                  <a16:creationId xmlns:a16="http://schemas.microsoft.com/office/drawing/2014/main" id="{85B8E4A6-A13B-3E14-8E35-2520A7D4C51D}"/>
                </a:ext>
              </a:extLst>
            </p:cNvPr>
            <p:cNvSpPr/>
            <p:nvPr/>
          </p:nvSpPr>
          <p:spPr>
            <a:xfrm>
              <a:off x="6741619" y="777182"/>
              <a:ext cx="977772" cy="378658"/>
            </a:xfrm>
            <a:prstGeom prst="can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8A42CA94-ED13-CBB0-5C88-0EA6C2E4E81A}"/>
                </a:ext>
              </a:extLst>
            </p:cNvPr>
            <p:cNvSpPr txBox="1"/>
            <p:nvPr/>
          </p:nvSpPr>
          <p:spPr>
            <a:xfrm>
              <a:off x="6767976" y="852753"/>
              <a:ext cx="951414" cy="2700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/>
                <a:t>Conformance Data</a:t>
              </a:r>
            </a:p>
          </p:txBody>
        </p:sp>
      </p:grpSp>
      <p:sp>
        <p:nvSpPr>
          <p:cNvPr id="83" name="Right Arrow 82">
            <a:extLst>
              <a:ext uri="{FF2B5EF4-FFF2-40B4-BE49-F238E27FC236}">
                <a16:creationId xmlns:a16="http://schemas.microsoft.com/office/drawing/2014/main" id="{27A5BB1B-7DBC-870A-E5C0-BE90DD13CECA}"/>
              </a:ext>
            </a:extLst>
          </p:cNvPr>
          <p:cNvSpPr/>
          <p:nvPr/>
        </p:nvSpPr>
        <p:spPr>
          <a:xfrm rot="10800000">
            <a:off x="3222286" y="3688819"/>
            <a:ext cx="363752" cy="171912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Bent Arrow 87">
            <a:extLst>
              <a:ext uri="{FF2B5EF4-FFF2-40B4-BE49-F238E27FC236}">
                <a16:creationId xmlns:a16="http://schemas.microsoft.com/office/drawing/2014/main" id="{9CF12B92-2E57-D421-B0D8-35CC7F3CE68C}"/>
              </a:ext>
            </a:extLst>
          </p:cNvPr>
          <p:cNvSpPr/>
          <p:nvPr/>
        </p:nvSpPr>
        <p:spPr>
          <a:xfrm rot="16200000">
            <a:off x="1323317" y="2957688"/>
            <a:ext cx="1100938" cy="705149"/>
          </a:xfrm>
          <a:prstGeom prst="bentArrow">
            <a:avLst>
              <a:gd name="adj1" fmla="val 9792"/>
              <a:gd name="adj2" fmla="val 11730"/>
              <a:gd name="adj3" fmla="val 17166"/>
              <a:gd name="adj4" fmla="val 43750"/>
            </a:avLst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0756EDD7-490A-EB38-4A41-6356ED0DD0B2}"/>
              </a:ext>
            </a:extLst>
          </p:cNvPr>
          <p:cNvSpPr/>
          <p:nvPr/>
        </p:nvSpPr>
        <p:spPr>
          <a:xfrm>
            <a:off x="728586" y="1191319"/>
            <a:ext cx="1721224" cy="155677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Freeform 107">
            <a:extLst>
              <a:ext uri="{FF2B5EF4-FFF2-40B4-BE49-F238E27FC236}">
                <a16:creationId xmlns:a16="http://schemas.microsoft.com/office/drawing/2014/main" id="{BD9A58FD-2FA0-0567-5310-CF9FFB5E8482}"/>
              </a:ext>
            </a:extLst>
          </p:cNvPr>
          <p:cNvSpPr/>
          <p:nvPr/>
        </p:nvSpPr>
        <p:spPr>
          <a:xfrm>
            <a:off x="4016259" y="2347773"/>
            <a:ext cx="1775544" cy="369925"/>
          </a:xfrm>
          <a:custGeom>
            <a:avLst/>
            <a:gdLst>
              <a:gd name="connsiteX0" fmla="*/ 0 w 2591615"/>
              <a:gd name="connsiteY0" fmla="*/ 0 h 305361"/>
              <a:gd name="connsiteX1" fmla="*/ 1002417 w 2591615"/>
              <a:gd name="connsiteY1" fmla="*/ 303170 h 305361"/>
              <a:gd name="connsiteX2" fmla="*/ 2591615 w 2591615"/>
              <a:gd name="connsiteY2" fmla="*/ 112466 h 30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1615" h="305361">
                <a:moveTo>
                  <a:pt x="0" y="0"/>
                </a:moveTo>
                <a:cubicBezTo>
                  <a:pt x="285240" y="142213"/>
                  <a:pt x="570481" y="284426"/>
                  <a:pt x="1002417" y="303170"/>
                </a:cubicBezTo>
                <a:cubicBezTo>
                  <a:pt x="1434353" y="321914"/>
                  <a:pt x="2012984" y="217190"/>
                  <a:pt x="2591615" y="112466"/>
                </a:cubicBezTo>
              </a:path>
            </a:pathLst>
          </a:custGeom>
          <a:noFill/>
          <a:ln w="28575">
            <a:solidFill>
              <a:schemeClr val="bg1">
                <a:lumMod val="50000"/>
              </a:schemeClr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786925AB-2620-FA32-CC73-B2EEE9448BB9}"/>
              </a:ext>
            </a:extLst>
          </p:cNvPr>
          <p:cNvSpPr txBox="1"/>
          <p:nvPr/>
        </p:nvSpPr>
        <p:spPr>
          <a:xfrm>
            <a:off x="1117702" y="1067580"/>
            <a:ext cx="942991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Assumptions</a:t>
            </a: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7E52D4C5-56E3-38D3-B64A-6ECF2F4BBE88}"/>
              </a:ext>
            </a:extLst>
          </p:cNvPr>
          <p:cNvCxnSpPr>
            <a:cxnSpLocks/>
            <a:stCxn id="111" idx="2"/>
          </p:cNvCxnSpPr>
          <p:nvPr/>
        </p:nvCxnSpPr>
        <p:spPr>
          <a:xfrm>
            <a:off x="535020" y="1229634"/>
            <a:ext cx="274314" cy="297559"/>
          </a:xfrm>
          <a:prstGeom prst="straightConnector1">
            <a:avLst/>
          </a:prstGeom>
          <a:ln w="1905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9791A687-8B18-BA4F-112D-EB149B32736D}"/>
              </a:ext>
            </a:extLst>
          </p:cNvPr>
          <p:cNvSpPr txBox="1"/>
          <p:nvPr/>
        </p:nvSpPr>
        <p:spPr>
          <a:xfrm>
            <a:off x="-12009" y="2842366"/>
            <a:ext cx="942991" cy="400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OPIN  requirement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C68A6B29-F514-DAE3-9DDC-C7D1A7CD6A3D}"/>
              </a:ext>
            </a:extLst>
          </p:cNvPr>
          <p:cNvCxnSpPr>
            <a:cxnSpLocks/>
            <a:stCxn id="114" idx="0"/>
          </p:cNvCxnSpPr>
          <p:nvPr/>
        </p:nvCxnSpPr>
        <p:spPr>
          <a:xfrm flipV="1">
            <a:off x="459487" y="2564769"/>
            <a:ext cx="349847" cy="277597"/>
          </a:xfrm>
          <a:prstGeom prst="straightConnector1">
            <a:avLst/>
          </a:prstGeom>
          <a:ln w="1905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2EF78E61-ABAB-0D2A-B130-0977AF290BE9}"/>
              </a:ext>
            </a:extLst>
          </p:cNvPr>
          <p:cNvSpPr txBox="1"/>
          <p:nvPr/>
        </p:nvSpPr>
        <p:spPr>
          <a:xfrm>
            <a:off x="4568930" y="4176865"/>
            <a:ext cx="94299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SCD requirement</a:t>
            </a:r>
          </a:p>
        </p:txBody>
      </p: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A2F06037-108A-081E-653F-F3F4834E7AA3}"/>
              </a:ext>
            </a:extLst>
          </p:cNvPr>
          <p:cNvCxnSpPr>
            <a:cxnSpLocks/>
          </p:cNvCxnSpPr>
          <p:nvPr/>
        </p:nvCxnSpPr>
        <p:spPr>
          <a:xfrm flipV="1">
            <a:off x="5359179" y="4090752"/>
            <a:ext cx="397436" cy="165917"/>
          </a:xfrm>
          <a:prstGeom prst="straightConnector1">
            <a:avLst/>
          </a:prstGeom>
          <a:ln w="1905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0" name="TextBox 129">
            <a:extLst>
              <a:ext uri="{FF2B5EF4-FFF2-40B4-BE49-F238E27FC236}">
                <a16:creationId xmlns:a16="http://schemas.microsoft.com/office/drawing/2014/main" id="{500C245A-1E55-D3E8-7C58-299649D1FC09}"/>
              </a:ext>
            </a:extLst>
          </p:cNvPr>
          <p:cNvSpPr txBox="1"/>
          <p:nvPr/>
        </p:nvSpPr>
        <p:spPr>
          <a:xfrm>
            <a:off x="4285943" y="2788274"/>
            <a:ext cx="1303495" cy="5539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Is are required not to conflict with each other</a:t>
            </a: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CB06336C-024D-43F5-BFF8-32CA39BDEC6C}"/>
              </a:ext>
            </a:extLst>
          </p:cNvPr>
          <p:cNvSpPr/>
          <p:nvPr/>
        </p:nvSpPr>
        <p:spPr>
          <a:xfrm>
            <a:off x="7293339" y="3955275"/>
            <a:ext cx="550984" cy="246221"/>
          </a:xfrm>
          <a:prstGeom prst="ellipse">
            <a:avLst/>
          </a:prstGeom>
          <a:solidFill>
            <a:srgbClr val="FF0000">
              <a:alpha val="31464"/>
            </a:srgbClr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FDE1D188-08D3-6DBE-3A91-660D6515ABAA}"/>
              </a:ext>
            </a:extLst>
          </p:cNvPr>
          <p:cNvSpPr/>
          <p:nvPr/>
        </p:nvSpPr>
        <p:spPr>
          <a:xfrm>
            <a:off x="6078918" y="4584949"/>
            <a:ext cx="550984" cy="246221"/>
          </a:xfrm>
          <a:prstGeom prst="ellipse">
            <a:avLst/>
          </a:prstGeom>
          <a:solidFill>
            <a:srgbClr val="00B050">
              <a:alpha val="31464"/>
            </a:srgbClr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Bent Arrow 1">
            <a:extLst>
              <a:ext uri="{FF2B5EF4-FFF2-40B4-BE49-F238E27FC236}">
                <a16:creationId xmlns:a16="http://schemas.microsoft.com/office/drawing/2014/main" id="{4B3861A7-C290-4D8E-0296-A56113B05F77}"/>
              </a:ext>
            </a:extLst>
          </p:cNvPr>
          <p:cNvSpPr/>
          <p:nvPr/>
        </p:nvSpPr>
        <p:spPr>
          <a:xfrm flipH="1">
            <a:off x="7068371" y="978864"/>
            <a:ext cx="636020" cy="975884"/>
          </a:xfrm>
          <a:prstGeom prst="bentArrow">
            <a:avLst>
              <a:gd name="adj1" fmla="val 18650"/>
              <a:gd name="adj2" fmla="val 25000"/>
              <a:gd name="adj3" fmla="val 25000"/>
              <a:gd name="adj4" fmla="val 43750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3E4F6C2-AAA6-8A85-28A7-CF743AA9D1A8}"/>
              </a:ext>
            </a:extLst>
          </p:cNvPr>
          <p:cNvGrpSpPr/>
          <p:nvPr/>
        </p:nvGrpSpPr>
        <p:grpSpPr>
          <a:xfrm>
            <a:off x="7185092" y="1954748"/>
            <a:ext cx="905756" cy="573626"/>
            <a:chOff x="6741619" y="777182"/>
            <a:chExt cx="977772" cy="387184"/>
          </a:xfrm>
        </p:grpSpPr>
        <p:sp>
          <p:nvSpPr>
            <p:cNvPr id="39" name="Can 38">
              <a:extLst>
                <a:ext uri="{FF2B5EF4-FFF2-40B4-BE49-F238E27FC236}">
                  <a16:creationId xmlns:a16="http://schemas.microsoft.com/office/drawing/2014/main" id="{B719DEAB-2269-0109-20A4-4B4D3ECBB258}"/>
                </a:ext>
              </a:extLst>
            </p:cNvPr>
            <p:cNvSpPr/>
            <p:nvPr/>
          </p:nvSpPr>
          <p:spPr>
            <a:xfrm>
              <a:off x="6741619" y="777182"/>
              <a:ext cx="977772" cy="378658"/>
            </a:xfrm>
            <a:prstGeom prst="can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1D621E3-5153-5182-095B-BEC1F936CBA2}"/>
                </a:ext>
              </a:extLst>
            </p:cNvPr>
            <p:cNvSpPr txBox="1"/>
            <p:nvPr/>
          </p:nvSpPr>
          <p:spPr>
            <a:xfrm>
              <a:off x="6767976" y="852753"/>
              <a:ext cx="951414" cy="3116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est ca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6945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" grpId="0" animBg="1"/>
      <p:bldP spid="64" grpId="0" animBg="1"/>
      <p:bldP spid="35" grpId="0" animBg="1"/>
      <p:bldP spid="47" grpId="0" animBg="1"/>
      <p:bldP spid="48" grpId="0" animBg="1"/>
      <p:bldP spid="51" grpId="0" animBg="1"/>
      <p:bldP spid="53" grpId="0" animBg="1"/>
      <p:bldP spid="55" grpId="0" animBg="1"/>
      <p:bldP spid="56" grpId="0" animBg="1"/>
      <p:bldP spid="57" grpId="0" animBg="1"/>
      <p:bldP spid="58" grpId="0" animBg="1"/>
      <p:bldP spid="59" grpId="0"/>
      <p:bldP spid="60" grpId="0"/>
      <p:bldP spid="78" grpId="0" animBg="1"/>
      <p:bldP spid="79" grpId="0"/>
      <p:bldP spid="83" grpId="0" animBg="1"/>
      <p:bldP spid="88" grpId="0" animBg="1"/>
      <p:bldP spid="108" grpId="0" animBg="1"/>
      <p:bldP spid="114" grpId="0" animBg="1"/>
      <p:bldP spid="118" grpId="0"/>
      <p:bldP spid="130" grpId="0"/>
      <p:bldP spid="131" grpId="0" animBg="1"/>
      <p:bldP spid="132" grpId="0" animBg="1"/>
      <p:bldP spid="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14" y="66318"/>
            <a:ext cx="8039099" cy="473202"/>
          </a:xfrm>
          <a:prstGeom prst="rect">
            <a:avLst/>
          </a:prstGeom>
          <a:ln>
            <a:noFill/>
          </a:ln>
        </p:spPr>
        <p:txBody>
          <a:bodyPr>
            <a:normAutofit fontScale="90000"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/>
              <a:t>Outlin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E02265-93C8-9C00-90AE-A287ADC60647}"/>
              </a:ext>
            </a:extLst>
          </p:cNvPr>
          <p:cNvSpPr txBox="1">
            <a:spLocks/>
          </p:cNvSpPr>
          <p:nvPr/>
        </p:nvSpPr>
        <p:spPr>
          <a:xfrm>
            <a:off x="927847" y="852682"/>
            <a:ext cx="7342094" cy="3321997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ＭＳ Ｐゴシック"/>
              </a:defRPr>
            </a:lvl1pPr>
            <a:lvl2pPr marL="557213" indent="-214313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8572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2001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5430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endParaRPr lang="en-US" sz="1800" b="1">
              <a:solidFill>
                <a:srgbClr val="1F4E79"/>
              </a:solidFill>
              <a:latin typeface="Calibri" pitchFamily="34" charset="0"/>
              <a:ea typeface="ＭＳ Ｐゴシック"/>
            </a:endParaRPr>
          </a:p>
          <a:p>
            <a:pPr marL="0" indent="0">
              <a:spcBef>
                <a:spcPts val="450"/>
              </a:spcBef>
              <a:buFont typeface="Arial" charset="0"/>
              <a:buNone/>
            </a:pPr>
            <a:endParaRPr lang="en-US" sz="225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4654CC-1599-B4F4-FD2A-7A89603A8E8B}"/>
              </a:ext>
            </a:extLst>
          </p:cNvPr>
          <p:cNvSpPr txBox="1"/>
          <p:nvPr/>
        </p:nvSpPr>
        <p:spPr>
          <a:xfrm>
            <a:off x="1430801" y="852682"/>
            <a:ext cx="6336186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ethod of Compli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ich Collision Risk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TM USS Specific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hod of Compliance for Strategic Coordination Ser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aseline ASTM require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Volume-based Collision Risk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low Diagram: test harness and data collec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nsitivity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nclusions and Future Work</a:t>
            </a:r>
            <a:endParaRPr lang="en-US" sz="16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6292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45" y="43033"/>
            <a:ext cx="9154133" cy="473202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 dirty="0"/>
              <a:t>Impact of Different SC Servic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A25FC9-BDB7-2E3C-A9C6-512629970EAA}"/>
              </a:ext>
            </a:extLst>
          </p:cNvPr>
          <p:cNvSpPr/>
          <p:nvPr/>
        </p:nvSpPr>
        <p:spPr>
          <a:xfrm rot="16200000">
            <a:off x="2208361" y="2723271"/>
            <a:ext cx="1206622" cy="335382"/>
          </a:xfrm>
          <a:prstGeom prst="rect">
            <a:avLst/>
          </a:prstGeom>
          <a:noFill/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CF683ED-C22D-C288-CA1C-05B502797ED1}"/>
              </a:ext>
            </a:extLst>
          </p:cNvPr>
          <p:cNvSpPr/>
          <p:nvPr/>
        </p:nvSpPr>
        <p:spPr>
          <a:xfrm rot="18916958">
            <a:off x="1684167" y="2029557"/>
            <a:ext cx="1651616" cy="327791"/>
          </a:xfrm>
          <a:prstGeom prst="rect">
            <a:avLst/>
          </a:prstGeom>
          <a:noFill/>
          <a:ln w="1270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F8C032-F561-C578-7F53-4B03692A0809}"/>
              </a:ext>
            </a:extLst>
          </p:cNvPr>
          <p:cNvSpPr/>
          <p:nvPr/>
        </p:nvSpPr>
        <p:spPr>
          <a:xfrm rot="18916958">
            <a:off x="5193834" y="1739225"/>
            <a:ext cx="1651616" cy="327791"/>
          </a:xfrm>
          <a:prstGeom prst="rect">
            <a:avLst/>
          </a:prstGeom>
          <a:noFill/>
          <a:ln w="1270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6885C20-7958-66DA-F566-1CF44B34D5F8}"/>
              </a:ext>
            </a:extLst>
          </p:cNvPr>
          <p:cNvCxnSpPr>
            <a:cxnSpLocks/>
          </p:cNvCxnSpPr>
          <p:nvPr/>
        </p:nvCxnSpPr>
        <p:spPr>
          <a:xfrm>
            <a:off x="6108480" y="2067370"/>
            <a:ext cx="183375" cy="187762"/>
          </a:xfrm>
          <a:prstGeom prst="straightConnector1">
            <a:avLst/>
          </a:prstGeom>
          <a:ln w="9525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D779721-B591-8153-8DBB-377617F80B44}"/>
              </a:ext>
            </a:extLst>
          </p:cNvPr>
          <p:cNvSpPr/>
          <p:nvPr/>
        </p:nvSpPr>
        <p:spPr>
          <a:xfrm>
            <a:off x="1553636" y="3591803"/>
            <a:ext cx="21736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Deconflict without buffer</a:t>
            </a:r>
          </a:p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(Collision risk = 3.2x10</a:t>
            </a:r>
            <a:r>
              <a:rPr lang="en-US" sz="1400" baseline="30000" dirty="0">
                <a:latin typeface="Calibri" panose="020F0502020204030204" pitchFamily="34" charset="0"/>
              </a:rPr>
              <a:t>-6</a:t>
            </a:r>
            <a:r>
              <a:rPr lang="en-US" sz="1400" dirty="0"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510202-714A-D736-7015-3DACBBAE1E18}"/>
              </a:ext>
            </a:extLst>
          </p:cNvPr>
          <p:cNvSpPr/>
          <p:nvPr/>
        </p:nvSpPr>
        <p:spPr>
          <a:xfrm>
            <a:off x="5317516" y="3556235"/>
            <a:ext cx="21736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Deconflict with buffer</a:t>
            </a:r>
          </a:p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(Collision risk = 7.5x10</a:t>
            </a:r>
            <a:r>
              <a:rPr lang="en-US" sz="1400" baseline="30000" dirty="0">
                <a:latin typeface="Calibri" panose="020F0502020204030204" pitchFamily="34" charset="0"/>
              </a:rPr>
              <a:t>-7</a:t>
            </a:r>
            <a:r>
              <a:rPr lang="en-US" sz="1400" dirty="0"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BD6EE4-857D-9889-15A7-79FE3E18F450}"/>
              </a:ext>
            </a:extLst>
          </p:cNvPr>
          <p:cNvSpPr/>
          <p:nvPr/>
        </p:nvSpPr>
        <p:spPr>
          <a:xfrm rot="2598821">
            <a:off x="2732437" y="1374732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100 f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00E087-6F54-523F-D996-978E1AD61120}"/>
              </a:ext>
            </a:extLst>
          </p:cNvPr>
          <p:cNvSpPr/>
          <p:nvPr/>
        </p:nvSpPr>
        <p:spPr>
          <a:xfrm rot="18754953">
            <a:off x="1889595" y="1984156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4000 f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3198019-83FB-1441-CE79-2AD3C805649D}"/>
              </a:ext>
            </a:extLst>
          </p:cNvPr>
          <p:cNvSpPr/>
          <p:nvPr/>
        </p:nvSpPr>
        <p:spPr>
          <a:xfrm rot="5400000">
            <a:off x="2722750" y="2632073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3000 f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AF7F12E-2579-C6AA-CD32-D4EEC53138F6}"/>
              </a:ext>
            </a:extLst>
          </p:cNvPr>
          <p:cNvSpPr/>
          <p:nvPr/>
        </p:nvSpPr>
        <p:spPr>
          <a:xfrm>
            <a:off x="2358254" y="3307866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100 f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F5C064C-81F2-1A32-81FB-A6706AC06F95}"/>
              </a:ext>
            </a:extLst>
          </p:cNvPr>
          <p:cNvSpPr/>
          <p:nvPr/>
        </p:nvSpPr>
        <p:spPr>
          <a:xfrm rot="2598821">
            <a:off x="5896190" y="1925175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500 ft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D1CC1F5-5B2B-669F-DA9E-E0A38161312A}"/>
              </a:ext>
            </a:extLst>
          </p:cNvPr>
          <p:cNvSpPr/>
          <p:nvPr/>
        </p:nvSpPr>
        <p:spPr>
          <a:xfrm>
            <a:off x="2164341" y="1454239"/>
            <a:ext cx="115309" cy="116984"/>
          </a:xfrm>
          <a:prstGeom prst="ellipse">
            <a:avLst/>
          </a:prstGeom>
          <a:solidFill>
            <a:srgbClr val="FF0000">
              <a:alpha val="41148"/>
            </a:srgbClr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8E8C612-234A-A031-FAE1-D8797807C0C2}"/>
              </a:ext>
            </a:extLst>
          </p:cNvPr>
          <p:cNvSpPr/>
          <p:nvPr/>
        </p:nvSpPr>
        <p:spPr>
          <a:xfrm>
            <a:off x="1652873" y="1092647"/>
            <a:ext cx="105825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Collision zone </a:t>
            </a:r>
          </a:p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R=10 f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A87F7B8-06C7-307C-D436-3FD768F2376A}"/>
              </a:ext>
            </a:extLst>
          </p:cNvPr>
          <p:cNvSpPr/>
          <p:nvPr/>
        </p:nvSpPr>
        <p:spPr>
          <a:xfrm rot="18914566">
            <a:off x="2058516" y="2215945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60 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6093AC5-248C-4035-7FEE-4195BD148BA4}"/>
              </a:ext>
            </a:extLst>
          </p:cNvPr>
          <p:cNvSpPr/>
          <p:nvPr/>
        </p:nvSpPr>
        <p:spPr>
          <a:xfrm rot="16200000">
            <a:off x="5856658" y="2690752"/>
            <a:ext cx="1206622" cy="335382"/>
          </a:xfrm>
          <a:prstGeom prst="rect">
            <a:avLst/>
          </a:prstGeom>
          <a:noFill/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Arc 33">
            <a:extLst>
              <a:ext uri="{FF2B5EF4-FFF2-40B4-BE49-F238E27FC236}">
                <a16:creationId xmlns:a16="http://schemas.microsoft.com/office/drawing/2014/main" id="{1FA052DC-EBE9-763F-9BEA-7692A3EE3620}"/>
              </a:ext>
            </a:extLst>
          </p:cNvPr>
          <p:cNvSpPr/>
          <p:nvPr/>
        </p:nvSpPr>
        <p:spPr>
          <a:xfrm>
            <a:off x="2564242" y="2079042"/>
            <a:ext cx="335383" cy="334006"/>
          </a:xfrm>
          <a:prstGeom prst="arc">
            <a:avLst>
              <a:gd name="adj1" fmla="val 18239584"/>
              <a:gd name="adj2" fmla="val 1073522"/>
            </a:avLst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C3E1745-A89F-1EC7-4026-66EACEE02F61}"/>
              </a:ext>
            </a:extLst>
          </p:cNvPr>
          <p:cNvSpPr/>
          <p:nvPr/>
        </p:nvSpPr>
        <p:spPr>
          <a:xfrm>
            <a:off x="2566100" y="2070748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45</a:t>
            </a:r>
            <a:r>
              <a:rPr lang="en-US" sz="1000" baseline="30000" dirty="0">
                <a:latin typeface="Calibri" panose="020F0502020204030204" pitchFamily="34" charset="0"/>
              </a:rPr>
              <a:t>o</a:t>
            </a:r>
            <a:endParaRPr lang="en-US" sz="1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43226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45" y="43033"/>
            <a:ext cx="9154133" cy="473202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 dirty="0"/>
              <a:t>Impact of Layout of Operational Inten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A25FC9-BDB7-2E3C-A9C6-512629970EAA}"/>
              </a:ext>
            </a:extLst>
          </p:cNvPr>
          <p:cNvSpPr/>
          <p:nvPr/>
        </p:nvSpPr>
        <p:spPr>
          <a:xfrm rot="16200000">
            <a:off x="1829461" y="1992488"/>
            <a:ext cx="1651617" cy="335382"/>
          </a:xfrm>
          <a:prstGeom prst="rect">
            <a:avLst/>
          </a:prstGeom>
          <a:noFill/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CF683ED-C22D-C288-CA1C-05B502797ED1}"/>
              </a:ext>
            </a:extLst>
          </p:cNvPr>
          <p:cNvSpPr/>
          <p:nvPr/>
        </p:nvSpPr>
        <p:spPr>
          <a:xfrm rot="16200000">
            <a:off x="1497873" y="1996284"/>
            <a:ext cx="1651616" cy="327791"/>
          </a:xfrm>
          <a:prstGeom prst="rect">
            <a:avLst/>
          </a:prstGeom>
          <a:noFill/>
          <a:ln w="1270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BC1A1-9619-AE67-6EB2-5C3602AE101F}"/>
              </a:ext>
            </a:extLst>
          </p:cNvPr>
          <p:cNvSpPr/>
          <p:nvPr/>
        </p:nvSpPr>
        <p:spPr>
          <a:xfrm rot="16200000">
            <a:off x="5427190" y="1848838"/>
            <a:ext cx="1651616" cy="327791"/>
          </a:xfrm>
          <a:prstGeom prst="rect">
            <a:avLst/>
          </a:prstGeom>
          <a:noFill/>
          <a:ln w="1270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9391D77-B715-4554-7F26-030137BFE703}"/>
              </a:ext>
            </a:extLst>
          </p:cNvPr>
          <p:cNvCxnSpPr>
            <a:cxnSpLocks/>
            <a:stCxn id="5" idx="2"/>
          </p:cNvCxnSpPr>
          <p:nvPr/>
        </p:nvCxnSpPr>
        <p:spPr>
          <a:xfrm>
            <a:off x="6416894" y="2012734"/>
            <a:ext cx="296114" cy="0"/>
          </a:xfrm>
          <a:prstGeom prst="straightConnector1">
            <a:avLst/>
          </a:prstGeom>
          <a:ln w="9525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15B7517-483D-7A9A-A406-0B552FFFBA0E}"/>
              </a:ext>
            </a:extLst>
          </p:cNvPr>
          <p:cNvSpPr/>
          <p:nvPr/>
        </p:nvSpPr>
        <p:spPr>
          <a:xfrm>
            <a:off x="1863672" y="1146468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100 f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C0F918-9BBD-3CD9-74DD-88FF74458036}"/>
              </a:ext>
            </a:extLst>
          </p:cNvPr>
          <p:cNvSpPr/>
          <p:nvPr/>
        </p:nvSpPr>
        <p:spPr>
          <a:xfrm rot="16200000">
            <a:off x="1705010" y="2172083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4000 f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F1D4E76-1442-7345-22C9-8D2F5955B09E}"/>
              </a:ext>
            </a:extLst>
          </p:cNvPr>
          <p:cNvSpPr/>
          <p:nvPr/>
        </p:nvSpPr>
        <p:spPr>
          <a:xfrm>
            <a:off x="1066112" y="898551"/>
            <a:ext cx="105825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Collision zone </a:t>
            </a:r>
          </a:p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R=10 f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BA08218-5D1C-64E6-C948-E24852E6C275}"/>
              </a:ext>
            </a:extLst>
          </p:cNvPr>
          <p:cNvSpPr/>
          <p:nvPr/>
        </p:nvSpPr>
        <p:spPr>
          <a:xfrm>
            <a:off x="2194158" y="1146468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100 f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8062D7-6FA1-599F-F062-A4CFF22B67B0}"/>
              </a:ext>
            </a:extLst>
          </p:cNvPr>
          <p:cNvSpPr/>
          <p:nvPr/>
        </p:nvSpPr>
        <p:spPr>
          <a:xfrm rot="16200000">
            <a:off x="2597192" y="2189300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4000 f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548D54-B6F7-EF72-A049-FC9C8A79CCC4}"/>
              </a:ext>
            </a:extLst>
          </p:cNvPr>
          <p:cNvSpPr/>
          <p:nvPr/>
        </p:nvSpPr>
        <p:spPr>
          <a:xfrm>
            <a:off x="6106156" y="1836426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100 f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FF76F87-BF89-C265-1F9A-E1356D49084A}"/>
              </a:ext>
            </a:extLst>
          </p:cNvPr>
          <p:cNvSpPr/>
          <p:nvPr/>
        </p:nvSpPr>
        <p:spPr>
          <a:xfrm>
            <a:off x="1320837" y="3309210"/>
            <a:ext cx="21736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Deconflict without buffer</a:t>
            </a:r>
          </a:p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(Collision risk = 2.1x10</a:t>
            </a:r>
            <a:r>
              <a:rPr lang="en-US" sz="1400" baseline="30000" dirty="0">
                <a:latin typeface="Calibri" panose="020F0502020204030204" pitchFamily="34" charset="0"/>
              </a:rPr>
              <a:t>-4</a:t>
            </a:r>
            <a:r>
              <a:rPr lang="en-US" sz="1400" dirty="0"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6AF4259-5946-3FA1-6B7E-F03D9E5D1678}"/>
              </a:ext>
            </a:extLst>
          </p:cNvPr>
          <p:cNvSpPr/>
          <p:nvPr/>
        </p:nvSpPr>
        <p:spPr>
          <a:xfrm>
            <a:off x="5441426" y="3308717"/>
            <a:ext cx="21736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Deconflict with buffer</a:t>
            </a:r>
          </a:p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(Collision risk = 5.7x10</a:t>
            </a:r>
            <a:r>
              <a:rPr lang="en-US" sz="1400" baseline="30000" dirty="0">
                <a:latin typeface="Calibri" panose="020F0502020204030204" pitchFamily="34" charset="0"/>
              </a:rPr>
              <a:t>-8</a:t>
            </a:r>
            <a:r>
              <a:rPr lang="en-US" sz="1400" dirty="0"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A7CAE5C-37DD-4AEA-0932-FB685147E403}"/>
              </a:ext>
            </a:extLst>
          </p:cNvPr>
          <p:cNvSpPr/>
          <p:nvPr/>
        </p:nvSpPr>
        <p:spPr>
          <a:xfrm rot="16200000">
            <a:off x="6089875" y="1848348"/>
            <a:ext cx="1645005" cy="335382"/>
          </a:xfrm>
          <a:prstGeom prst="rect">
            <a:avLst/>
          </a:prstGeom>
          <a:noFill/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1A984D9-ACB0-8896-CBD9-C27DF4846A44}"/>
              </a:ext>
            </a:extLst>
          </p:cNvPr>
          <p:cNvSpPr/>
          <p:nvPr/>
        </p:nvSpPr>
        <p:spPr>
          <a:xfrm>
            <a:off x="1640775" y="1275878"/>
            <a:ext cx="115309" cy="116984"/>
          </a:xfrm>
          <a:prstGeom prst="ellipse">
            <a:avLst/>
          </a:prstGeom>
          <a:solidFill>
            <a:srgbClr val="FF0000">
              <a:alpha val="41148"/>
            </a:srgbClr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982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980F2-35C9-4DEB-ABB0-E8F31AE7F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7D23-5EA3-BB48-9A7E-29066237FEC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A8E158EB-CB43-E2A3-D374-C51E7D405B63}"/>
              </a:ext>
            </a:extLst>
          </p:cNvPr>
          <p:cNvSpPr/>
          <p:nvPr/>
        </p:nvSpPr>
        <p:spPr>
          <a:xfrm>
            <a:off x="6659734" y="989288"/>
            <a:ext cx="1712488" cy="882010"/>
          </a:xfrm>
          <a:prstGeom prst="round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</a:p>
          <a:p>
            <a:pPr algn="ctr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(10</a:t>
            </a:r>
            <a:r>
              <a:rPr lang="en-US" sz="16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-n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NMACs per flight hour)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97D470E-2B31-9C7E-F41D-52253033D8D8}"/>
              </a:ext>
            </a:extLst>
          </p:cNvPr>
          <p:cNvSpPr txBox="1"/>
          <p:nvPr/>
        </p:nvSpPr>
        <p:spPr>
          <a:xfrm>
            <a:off x="453229" y="965952"/>
            <a:ext cx="49650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70C0"/>
                </a:solidFill>
              </a:rPr>
              <a:t>How to develop a method of compliance to show that a target UA-to-UA Collision Risk level can be achieved by core UTM services?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1C1F296-52FA-2767-5F26-8DC25B62F13B}"/>
              </a:ext>
            </a:extLst>
          </p:cNvPr>
          <p:cNvCxnSpPr>
            <a:cxnSpLocks/>
          </p:cNvCxnSpPr>
          <p:nvPr/>
        </p:nvCxnSpPr>
        <p:spPr>
          <a:xfrm>
            <a:off x="3466768" y="3077155"/>
            <a:ext cx="930303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3ABF19F-F133-C5F8-5FEF-DBC1274D16C7}"/>
              </a:ext>
            </a:extLst>
          </p:cNvPr>
          <p:cNvCxnSpPr>
            <a:cxnSpLocks/>
          </p:cNvCxnSpPr>
          <p:nvPr/>
        </p:nvCxnSpPr>
        <p:spPr>
          <a:xfrm>
            <a:off x="3466768" y="3077155"/>
            <a:ext cx="0" cy="307177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48F3595-6300-297B-CFB5-94577EEF1F6F}"/>
              </a:ext>
            </a:extLst>
          </p:cNvPr>
          <p:cNvCxnSpPr>
            <a:cxnSpLocks/>
          </p:cNvCxnSpPr>
          <p:nvPr/>
        </p:nvCxnSpPr>
        <p:spPr>
          <a:xfrm>
            <a:off x="2536465" y="3402913"/>
            <a:ext cx="930303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5505DDD-D764-FB2C-5920-1AFADFB5F17D}"/>
              </a:ext>
            </a:extLst>
          </p:cNvPr>
          <p:cNvCxnSpPr>
            <a:cxnSpLocks/>
          </p:cNvCxnSpPr>
          <p:nvPr/>
        </p:nvCxnSpPr>
        <p:spPr>
          <a:xfrm flipH="1">
            <a:off x="2528514" y="3410865"/>
            <a:ext cx="15901" cy="23083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CCFFFA4-65A3-C12B-6D74-BE8AC6690F29}"/>
              </a:ext>
            </a:extLst>
          </p:cNvPr>
          <p:cNvCxnSpPr>
            <a:cxnSpLocks/>
          </p:cNvCxnSpPr>
          <p:nvPr/>
        </p:nvCxnSpPr>
        <p:spPr>
          <a:xfrm>
            <a:off x="1606162" y="3641697"/>
            <a:ext cx="930303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AB9971B-E87C-3802-4052-0A736965D170}"/>
              </a:ext>
            </a:extLst>
          </p:cNvPr>
          <p:cNvCxnSpPr>
            <a:cxnSpLocks/>
          </p:cNvCxnSpPr>
          <p:nvPr/>
        </p:nvCxnSpPr>
        <p:spPr>
          <a:xfrm>
            <a:off x="1606162" y="3641697"/>
            <a:ext cx="0" cy="48503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E94D557-F6DA-B882-C1BB-4CA6890656EB}"/>
              </a:ext>
            </a:extLst>
          </p:cNvPr>
          <p:cNvCxnSpPr>
            <a:cxnSpLocks/>
          </p:cNvCxnSpPr>
          <p:nvPr/>
        </p:nvCxnSpPr>
        <p:spPr>
          <a:xfrm>
            <a:off x="4380066" y="2580541"/>
            <a:ext cx="930303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ABD9AA0-74B8-B71C-4038-E770D46E1F60}"/>
              </a:ext>
            </a:extLst>
          </p:cNvPr>
          <p:cNvCxnSpPr>
            <a:cxnSpLocks/>
          </p:cNvCxnSpPr>
          <p:nvPr/>
        </p:nvCxnSpPr>
        <p:spPr>
          <a:xfrm>
            <a:off x="4380066" y="2580541"/>
            <a:ext cx="0" cy="48503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2092562-013A-83D2-8FBD-E54847829AE5}"/>
              </a:ext>
            </a:extLst>
          </p:cNvPr>
          <p:cNvCxnSpPr>
            <a:cxnSpLocks/>
          </p:cNvCxnSpPr>
          <p:nvPr/>
        </p:nvCxnSpPr>
        <p:spPr>
          <a:xfrm>
            <a:off x="675859" y="4126727"/>
            <a:ext cx="930303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5BDD5F6-7FF6-8544-F10F-4A2DECF013CC}"/>
              </a:ext>
            </a:extLst>
          </p:cNvPr>
          <p:cNvSpPr txBox="1"/>
          <p:nvPr/>
        </p:nvSpPr>
        <p:spPr>
          <a:xfrm>
            <a:off x="1637967" y="3665062"/>
            <a:ext cx="86669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afety Credit</a:t>
            </a:r>
          </a:p>
          <a:p>
            <a:pPr algn="ctr"/>
            <a:r>
              <a:rPr lang="en-US" sz="1100" dirty="0"/>
              <a:t>(USS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171C36B-E535-35BA-457D-7E2A3375F6CB}"/>
              </a:ext>
            </a:extLst>
          </p:cNvPr>
          <p:cNvSpPr txBox="1"/>
          <p:nvPr/>
        </p:nvSpPr>
        <p:spPr>
          <a:xfrm>
            <a:off x="2441046" y="3402913"/>
            <a:ext cx="12562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afety Credit</a:t>
            </a:r>
          </a:p>
          <a:p>
            <a:pPr algn="ctr"/>
            <a:r>
              <a:rPr lang="en-US" sz="1100" dirty="0"/>
              <a:t>(Intent sharing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ED5229B-BEDE-65E1-797D-E9212D284480}"/>
              </a:ext>
            </a:extLst>
          </p:cNvPr>
          <p:cNvSpPr txBox="1"/>
          <p:nvPr/>
        </p:nvSpPr>
        <p:spPr>
          <a:xfrm>
            <a:off x="3302636" y="3078143"/>
            <a:ext cx="154258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afety Credit</a:t>
            </a:r>
          </a:p>
          <a:p>
            <a:pPr algn="ctr"/>
            <a:r>
              <a:rPr lang="en-US" sz="1100" dirty="0"/>
              <a:t>(Strategic Conflict Detection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574DCC3-870A-C7BE-20A5-AEF1EE9F037A}"/>
              </a:ext>
            </a:extLst>
          </p:cNvPr>
          <p:cNvSpPr txBox="1"/>
          <p:nvPr/>
        </p:nvSpPr>
        <p:spPr>
          <a:xfrm>
            <a:off x="4243774" y="2598535"/>
            <a:ext cx="139942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afety Credit</a:t>
            </a:r>
          </a:p>
          <a:p>
            <a:pPr algn="ctr"/>
            <a:r>
              <a:rPr lang="en-US" sz="1100" dirty="0"/>
              <a:t>(Conformance Monitoring)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2482F18-11EA-A51C-B437-17BF39709D80}"/>
              </a:ext>
            </a:extLst>
          </p:cNvPr>
          <p:cNvCxnSpPr>
            <a:cxnSpLocks/>
          </p:cNvCxnSpPr>
          <p:nvPr/>
        </p:nvCxnSpPr>
        <p:spPr>
          <a:xfrm flipV="1">
            <a:off x="5426766" y="1807297"/>
            <a:ext cx="1224501" cy="567164"/>
          </a:xfrm>
          <a:prstGeom prst="straightConnector1">
            <a:avLst/>
          </a:prstGeom>
          <a:ln w="57150">
            <a:solidFill>
              <a:schemeClr val="tx1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11328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45" y="43033"/>
            <a:ext cx="9154133" cy="473202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 dirty="0"/>
              <a:t>Impact of Operational Intent Size: larger inten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A25FC9-BDB7-2E3C-A9C6-512629970EAA}"/>
              </a:ext>
            </a:extLst>
          </p:cNvPr>
          <p:cNvSpPr/>
          <p:nvPr/>
        </p:nvSpPr>
        <p:spPr>
          <a:xfrm rot="16200000">
            <a:off x="4297502" y="2539953"/>
            <a:ext cx="1206622" cy="539915"/>
          </a:xfrm>
          <a:prstGeom prst="rect">
            <a:avLst/>
          </a:prstGeom>
          <a:noFill/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CF683ED-C22D-C288-CA1C-05B502797ED1}"/>
              </a:ext>
            </a:extLst>
          </p:cNvPr>
          <p:cNvSpPr/>
          <p:nvPr/>
        </p:nvSpPr>
        <p:spPr>
          <a:xfrm rot="18916958">
            <a:off x="3411983" y="1961240"/>
            <a:ext cx="1651616" cy="510110"/>
          </a:xfrm>
          <a:prstGeom prst="rect">
            <a:avLst/>
          </a:prstGeom>
          <a:noFill/>
          <a:ln w="1270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779721-B591-8153-8DBB-377617F80B44}"/>
              </a:ext>
            </a:extLst>
          </p:cNvPr>
          <p:cNvSpPr/>
          <p:nvPr/>
        </p:nvSpPr>
        <p:spPr>
          <a:xfrm>
            <a:off x="3345592" y="3679422"/>
            <a:ext cx="21736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Deconflict without buffer</a:t>
            </a:r>
          </a:p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(Collision risk = 4.36x10</a:t>
            </a:r>
            <a:r>
              <a:rPr lang="en-US" sz="1400" baseline="30000" dirty="0">
                <a:latin typeface="Calibri" panose="020F0502020204030204" pitchFamily="34" charset="0"/>
              </a:rPr>
              <a:t>-6</a:t>
            </a:r>
            <a:r>
              <a:rPr lang="en-US" sz="1400" dirty="0"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BD6EE4-857D-9889-15A7-79FE3E18F450}"/>
              </a:ext>
            </a:extLst>
          </p:cNvPr>
          <p:cNvSpPr/>
          <p:nvPr/>
        </p:nvSpPr>
        <p:spPr>
          <a:xfrm rot="2598821">
            <a:off x="4459747" y="1401797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500 f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00E087-6F54-523F-D996-978E1AD61120}"/>
              </a:ext>
            </a:extLst>
          </p:cNvPr>
          <p:cNvSpPr/>
          <p:nvPr/>
        </p:nvSpPr>
        <p:spPr>
          <a:xfrm rot="18754953">
            <a:off x="3611693" y="1904947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4000 f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3198019-83FB-1441-CE79-2AD3C805649D}"/>
              </a:ext>
            </a:extLst>
          </p:cNvPr>
          <p:cNvSpPr/>
          <p:nvPr/>
        </p:nvSpPr>
        <p:spPr>
          <a:xfrm rot="5400000">
            <a:off x="4910894" y="2472148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3000 f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AF7F12E-2579-C6AA-CD32-D4EEC53138F6}"/>
              </a:ext>
            </a:extLst>
          </p:cNvPr>
          <p:cNvSpPr/>
          <p:nvPr/>
        </p:nvSpPr>
        <p:spPr>
          <a:xfrm>
            <a:off x="4465025" y="3430626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500 f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8E8C612-234A-A031-FAE1-D8797807C0C2}"/>
              </a:ext>
            </a:extLst>
          </p:cNvPr>
          <p:cNvSpPr/>
          <p:nvPr/>
        </p:nvSpPr>
        <p:spPr>
          <a:xfrm>
            <a:off x="3201739" y="1172666"/>
            <a:ext cx="105825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Collision zone </a:t>
            </a:r>
          </a:p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R=10 f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A87F7B8-06C7-307C-D436-3FD768F2376A}"/>
              </a:ext>
            </a:extLst>
          </p:cNvPr>
          <p:cNvSpPr/>
          <p:nvPr/>
        </p:nvSpPr>
        <p:spPr>
          <a:xfrm rot="18914566">
            <a:off x="3850472" y="2303564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60 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4218C27-50EA-50EF-A854-D82EE84A833F}"/>
              </a:ext>
            </a:extLst>
          </p:cNvPr>
          <p:cNvCxnSpPr>
            <a:cxnSpLocks/>
          </p:cNvCxnSpPr>
          <p:nvPr/>
        </p:nvCxnSpPr>
        <p:spPr>
          <a:xfrm>
            <a:off x="7277466" y="1891112"/>
            <a:ext cx="340463" cy="325183"/>
          </a:xfrm>
          <a:prstGeom prst="straightConnector1">
            <a:avLst/>
          </a:prstGeom>
          <a:ln w="9525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0CA4737D-2705-C3B9-4DC7-B174BA63DA3A}"/>
              </a:ext>
            </a:extLst>
          </p:cNvPr>
          <p:cNvSpPr/>
          <p:nvPr/>
        </p:nvSpPr>
        <p:spPr>
          <a:xfrm>
            <a:off x="6321222" y="3582638"/>
            <a:ext cx="25934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Deconflict with a 500-ft buffer</a:t>
            </a:r>
          </a:p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(Collision risk = 1.4x10</a:t>
            </a:r>
            <a:r>
              <a:rPr lang="en-US" sz="1400" baseline="30000" dirty="0">
                <a:latin typeface="Calibri" panose="020F0502020204030204" pitchFamily="34" charset="0"/>
              </a:rPr>
              <a:t>-6</a:t>
            </a:r>
            <a:r>
              <a:rPr lang="en-US" sz="1400" dirty="0"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804FFA-07A9-55A7-4D92-8C1292436282}"/>
              </a:ext>
            </a:extLst>
          </p:cNvPr>
          <p:cNvSpPr/>
          <p:nvPr/>
        </p:nvSpPr>
        <p:spPr>
          <a:xfrm rot="2598821">
            <a:off x="7138173" y="1808162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500 f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C6D2BD-A1BA-76CF-1493-4F74824EB9E9}"/>
              </a:ext>
            </a:extLst>
          </p:cNvPr>
          <p:cNvSpPr/>
          <p:nvPr/>
        </p:nvSpPr>
        <p:spPr>
          <a:xfrm rot="18916958">
            <a:off x="6129982" y="1583112"/>
            <a:ext cx="1651616" cy="510110"/>
          </a:xfrm>
          <a:prstGeom prst="rect">
            <a:avLst/>
          </a:prstGeom>
          <a:noFill/>
          <a:ln w="1270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A490A26-B5BD-3E17-C079-D7EEB41EBDF7}"/>
              </a:ext>
            </a:extLst>
          </p:cNvPr>
          <p:cNvSpPr/>
          <p:nvPr/>
        </p:nvSpPr>
        <p:spPr>
          <a:xfrm rot="16200000">
            <a:off x="7284576" y="2549649"/>
            <a:ext cx="1206622" cy="539915"/>
          </a:xfrm>
          <a:prstGeom prst="rect">
            <a:avLst/>
          </a:prstGeom>
          <a:noFill/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A86868D-8154-CEDA-7693-3BF8FD03469E}"/>
              </a:ext>
            </a:extLst>
          </p:cNvPr>
          <p:cNvSpPr/>
          <p:nvPr/>
        </p:nvSpPr>
        <p:spPr>
          <a:xfrm>
            <a:off x="3787600" y="1536173"/>
            <a:ext cx="115309" cy="116984"/>
          </a:xfrm>
          <a:prstGeom prst="ellipse">
            <a:avLst/>
          </a:prstGeom>
          <a:solidFill>
            <a:srgbClr val="FF0000">
              <a:alpha val="41148"/>
            </a:srgbClr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DF6BE94-0D44-956A-9480-19852C96DA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54" y="887434"/>
            <a:ext cx="3313571" cy="203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4252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45" y="43033"/>
            <a:ext cx="9154133" cy="473202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 dirty="0"/>
              <a:t>Impact of Operational Intent Size: smaller inten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A25FC9-BDB7-2E3C-A9C6-512629970EAA}"/>
              </a:ext>
            </a:extLst>
          </p:cNvPr>
          <p:cNvSpPr/>
          <p:nvPr/>
        </p:nvSpPr>
        <p:spPr>
          <a:xfrm rot="16200000">
            <a:off x="4563427" y="2250377"/>
            <a:ext cx="562793" cy="335382"/>
          </a:xfrm>
          <a:prstGeom prst="rect">
            <a:avLst/>
          </a:prstGeom>
          <a:noFill/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CF683ED-C22D-C288-CA1C-05B502797ED1}"/>
              </a:ext>
            </a:extLst>
          </p:cNvPr>
          <p:cNvSpPr/>
          <p:nvPr/>
        </p:nvSpPr>
        <p:spPr>
          <a:xfrm rot="18916958">
            <a:off x="4096209" y="1888239"/>
            <a:ext cx="874321" cy="327791"/>
          </a:xfrm>
          <a:prstGeom prst="rect">
            <a:avLst/>
          </a:prstGeom>
          <a:noFill/>
          <a:ln w="1270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6885C20-7958-66DA-F566-1CF44B34D5F8}"/>
              </a:ext>
            </a:extLst>
          </p:cNvPr>
          <p:cNvCxnSpPr>
            <a:cxnSpLocks/>
          </p:cNvCxnSpPr>
          <p:nvPr/>
        </p:nvCxnSpPr>
        <p:spPr>
          <a:xfrm>
            <a:off x="7071608" y="2279297"/>
            <a:ext cx="183375" cy="187762"/>
          </a:xfrm>
          <a:prstGeom prst="straightConnector1">
            <a:avLst/>
          </a:prstGeom>
          <a:ln w="9525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D779721-B591-8153-8DBB-377617F80B44}"/>
              </a:ext>
            </a:extLst>
          </p:cNvPr>
          <p:cNvSpPr/>
          <p:nvPr/>
        </p:nvSpPr>
        <p:spPr>
          <a:xfrm>
            <a:off x="3586788" y="3440823"/>
            <a:ext cx="21736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Deconflict without buffer</a:t>
            </a:r>
          </a:p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(Collision risk = 1.12x10</a:t>
            </a:r>
            <a:r>
              <a:rPr lang="en-US" sz="1400" baseline="30000" dirty="0">
                <a:latin typeface="Calibri" panose="020F0502020204030204" pitchFamily="34" charset="0"/>
              </a:rPr>
              <a:t>-5</a:t>
            </a:r>
            <a:r>
              <a:rPr lang="en-US" sz="1400" dirty="0"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510202-714A-D736-7015-3DACBBAE1E18}"/>
              </a:ext>
            </a:extLst>
          </p:cNvPr>
          <p:cNvSpPr/>
          <p:nvPr/>
        </p:nvSpPr>
        <p:spPr>
          <a:xfrm>
            <a:off x="6279671" y="3440823"/>
            <a:ext cx="21736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Deconflict with buffer</a:t>
            </a:r>
          </a:p>
          <a:p>
            <a:pPr marL="228600" algn="ctr"/>
            <a:r>
              <a:rPr lang="en-US" sz="1400" dirty="0">
                <a:latin typeface="Calibri" panose="020F0502020204030204" pitchFamily="34" charset="0"/>
              </a:rPr>
              <a:t>(Collision risk = 4.48x10</a:t>
            </a:r>
            <a:r>
              <a:rPr lang="en-US" sz="1400" baseline="30000" dirty="0">
                <a:latin typeface="Calibri" panose="020F0502020204030204" pitchFamily="34" charset="0"/>
              </a:rPr>
              <a:t>-7</a:t>
            </a:r>
            <a:r>
              <a:rPr lang="en-US" sz="1400" dirty="0"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BD6EE4-857D-9889-15A7-79FE3E18F450}"/>
              </a:ext>
            </a:extLst>
          </p:cNvPr>
          <p:cNvSpPr/>
          <p:nvPr/>
        </p:nvSpPr>
        <p:spPr>
          <a:xfrm rot="2598821">
            <a:off x="4508808" y="1468472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100 f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00E087-6F54-523F-D996-978E1AD61120}"/>
              </a:ext>
            </a:extLst>
          </p:cNvPr>
          <p:cNvSpPr/>
          <p:nvPr/>
        </p:nvSpPr>
        <p:spPr>
          <a:xfrm rot="18754953">
            <a:off x="3922747" y="1833176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2000 f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3198019-83FB-1441-CE79-2AD3C805649D}"/>
              </a:ext>
            </a:extLst>
          </p:cNvPr>
          <p:cNvSpPr/>
          <p:nvPr/>
        </p:nvSpPr>
        <p:spPr>
          <a:xfrm rot="5400000">
            <a:off x="4755516" y="2244751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1500 f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AF7F12E-2579-C6AA-CD32-D4EEC53138F6}"/>
              </a:ext>
            </a:extLst>
          </p:cNvPr>
          <p:cNvSpPr/>
          <p:nvPr/>
        </p:nvSpPr>
        <p:spPr>
          <a:xfrm>
            <a:off x="4396419" y="2727673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100 f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F5C064C-81F2-1A32-81FB-A6706AC06F95}"/>
              </a:ext>
            </a:extLst>
          </p:cNvPr>
          <p:cNvSpPr/>
          <p:nvPr/>
        </p:nvSpPr>
        <p:spPr>
          <a:xfrm rot="2598821">
            <a:off x="6859318" y="2137102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500 f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A87F7B8-06C7-307C-D436-3FD768F2376A}"/>
              </a:ext>
            </a:extLst>
          </p:cNvPr>
          <p:cNvSpPr/>
          <p:nvPr/>
        </p:nvSpPr>
        <p:spPr>
          <a:xfrm rot="18914566">
            <a:off x="4091668" y="2064965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60 s</a:t>
            </a:r>
          </a:p>
        </p:txBody>
      </p:sp>
      <p:sp>
        <p:nvSpPr>
          <p:cNvPr id="34" name="Arc 33">
            <a:extLst>
              <a:ext uri="{FF2B5EF4-FFF2-40B4-BE49-F238E27FC236}">
                <a16:creationId xmlns:a16="http://schemas.microsoft.com/office/drawing/2014/main" id="{1FA052DC-EBE9-763F-9BEA-7692A3EE3620}"/>
              </a:ext>
            </a:extLst>
          </p:cNvPr>
          <p:cNvSpPr/>
          <p:nvPr/>
        </p:nvSpPr>
        <p:spPr>
          <a:xfrm>
            <a:off x="4597394" y="1928062"/>
            <a:ext cx="335383" cy="334006"/>
          </a:xfrm>
          <a:prstGeom prst="arc">
            <a:avLst>
              <a:gd name="adj1" fmla="val 18239584"/>
              <a:gd name="adj2" fmla="val 1073522"/>
            </a:avLst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C3E1745-A89F-1EC7-4026-66EACEE02F61}"/>
              </a:ext>
            </a:extLst>
          </p:cNvPr>
          <p:cNvSpPr/>
          <p:nvPr/>
        </p:nvSpPr>
        <p:spPr>
          <a:xfrm>
            <a:off x="4599252" y="1919768"/>
            <a:ext cx="70574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algn="ctr"/>
            <a:r>
              <a:rPr lang="en-US" sz="1000" dirty="0">
                <a:latin typeface="Calibri" panose="020F0502020204030204" pitchFamily="34" charset="0"/>
              </a:rPr>
              <a:t>45</a:t>
            </a:r>
            <a:r>
              <a:rPr lang="en-US" sz="1000" baseline="30000" dirty="0">
                <a:latin typeface="Calibri" panose="020F0502020204030204" pitchFamily="34" charset="0"/>
              </a:rPr>
              <a:t>o</a:t>
            </a:r>
            <a:endParaRPr lang="en-US" sz="1000" dirty="0">
              <a:latin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04DCD84-A77B-6CDB-AE38-F14E7A3B0100}"/>
              </a:ext>
            </a:extLst>
          </p:cNvPr>
          <p:cNvSpPr/>
          <p:nvPr/>
        </p:nvSpPr>
        <p:spPr>
          <a:xfrm rot="16200000">
            <a:off x="7141277" y="2583453"/>
            <a:ext cx="562793" cy="335382"/>
          </a:xfrm>
          <a:prstGeom prst="rect">
            <a:avLst/>
          </a:prstGeom>
          <a:noFill/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1EC9410-0AF8-CAD8-D40E-3D093E607172}"/>
              </a:ext>
            </a:extLst>
          </p:cNvPr>
          <p:cNvSpPr/>
          <p:nvPr/>
        </p:nvSpPr>
        <p:spPr>
          <a:xfrm rot="18916958">
            <a:off x="6488447" y="2001332"/>
            <a:ext cx="874321" cy="327791"/>
          </a:xfrm>
          <a:prstGeom prst="rect">
            <a:avLst/>
          </a:prstGeom>
          <a:noFill/>
          <a:ln w="1270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BC0A569-14DF-9469-DFFB-DF5E2954BE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54" y="887434"/>
            <a:ext cx="3313571" cy="203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0400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45" y="43033"/>
            <a:ext cx="9154133" cy="473202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 dirty="0"/>
              <a:t>Conclus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A9797A-0B9F-DE0E-BD19-5BB64C567A62}"/>
              </a:ext>
            </a:extLst>
          </p:cNvPr>
          <p:cNvSpPr txBox="1"/>
          <p:nvPr/>
        </p:nvSpPr>
        <p:spPr>
          <a:xfrm>
            <a:off x="765970" y="1153141"/>
            <a:ext cx="7810081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An MOC for Strategic Coordination services is developed for nominal situa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Helvetic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An SCD service needs to include dynamic extra buff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effectLst/>
              <a:latin typeface="Helvetic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Helvetica" pitchFamily="2" charset="0"/>
              </a:rPr>
              <a:t>Test </a:t>
            </a:r>
            <a:r>
              <a:rPr lang="en-US" sz="1600" dirty="0">
                <a:latin typeface="Helvetica" pitchFamily="2" charset="0"/>
              </a:rPr>
              <a:t>cases in the test harness need to consider the layout and size of operational intent volumes, as they play important roles in risk assess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effectLst/>
              <a:latin typeface="Helvetic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When the operational tempo is high, the SCD service reduces the tempo to mitigate the collision ris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effectLst/>
              <a:latin typeface="Helvetic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This MOC can serve as a proof while providing guidance on test harness and data collection.</a:t>
            </a:r>
          </a:p>
        </p:txBody>
      </p:sp>
    </p:spTree>
    <p:extLst>
      <p:ext uri="{BB962C8B-B14F-4D97-AF65-F5344CB8AC3E}">
        <p14:creationId xmlns:p14="http://schemas.microsoft.com/office/powerpoint/2010/main" val="14076742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45" y="43033"/>
            <a:ext cx="9154133" cy="473202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 dirty="0"/>
              <a:t>Future work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0B3A11C-E5D2-7053-8B2D-40206B540A81}"/>
              </a:ext>
            </a:extLst>
          </p:cNvPr>
          <p:cNvSpPr/>
          <p:nvPr/>
        </p:nvSpPr>
        <p:spPr>
          <a:xfrm>
            <a:off x="2350164" y="1003781"/>
            <a:ext cx="1644811" cy="619814"/>
          </a:xfrm>
          <a:prstGeom prst="round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Strategic Conflict Detection (SCD)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5D6CFC2-208F-B9ED-4C04-DB7C14D88597}"/>
              </a:ext>
            </a:extLst>
          </p:cNvPr>
          <p:cNvSpPr/>
          <p:nvPr/>
        </p:nvSpPr>
        <p:spPr>
          <a:xfrm>
            <a:off x="1604493" y="2287384"/>
            <a:ext cx="1374321" cy="834086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tional Intent Conflict, 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permitted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A8E40696-6DEC-E31F-0B62-1FC0516BEA0D}"/>
              </a:ext>
            </a:extLst>
          </p:cNvPr>
          <p:cNvSpPr/>
          <p:nvPr/>
        </p:nvSpPr>
        <p:spPr>
          <a:xfrm>
            <a:off x="3409734" y="2287383"/>
            <a:ext cx="1389716" cy="83408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tional Intent Conflict, 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mitted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C2A10D7-2BB6-A47B-F813-5DDD969DE23B}"/>
              </a:ext>
            </a:extLst>
          </p:cNvPr>
          <p:cNvCxnSpPr>
            <a:cxnSpLocks/>
            <a:stCxn id="3" idx="2"/>
            <a:endCxn id="4" idx="0"/>
          </p:cNvCxnSpPr>
          <p:nvPr/>
        </p:nvCxnSpPr>
        <p:spPr>
          <a:xfrm flipH="1">
            <a:off x="2291654" y="1623595"/>
            <a:ext cx="880916" cy="663789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1B3D478-E2D1-0BE0-1642-5F1A5C60F990}"/>
              </a:ext>
            </a:extLst>
          </p:cNvPr>
          <p:cNvCxnSpPr>
            <a:cxnSpLocks/>
            <a:stCxn id="3" idx="2"/>
            <a:endCxn id="5" idx="0"/>
          </p:cNvCxnSpPr>
          <p:nvPr/>
        </p:nvCxnSpPr>
        <p:spPr>
          <a:xfrm>
            <a:off x="3172570" y="1623595"/>
            <a:ext cx="932022" cy="6637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4F09A5C-E9CC-A6CB-8D18-253C79823A45}"/>
              </a:ext>
            </a:extLst>
          </p:cNvPr>
          <p:cNvSpPr/>
          <p:nvPr/>
        </p:nvSpPr>
        <p:spPr>
          <a:xfrm>
            <a:off x="1682200" y="3458293"/>
            <a:ext cx="1389716" cy="834087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hod of Compliance</a:t>
            </a:r>
            <a:endParaRPr lang="en-US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9CFF650-100B-F247-1D2B-F2923104CA4C}"/>
              </a:ext>
            </a:extLst>
          </p:cNvPr>
          <p:cNvCxnSpPr>
            <a:cxnSpLocks/>
          </p:cNvCxnSpPr>
          <p:nvPr/>
        </p:nvCxnSpPr>
        <p:spPr>
          <a:xfrm flipV="1">
            <a:off x="2291653" y="3181696"/>
            <a:ext cx="0" cy="4101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F22273B7-6056-540F-F5EF-CFDF616B4C36}"/>
              </a:ext>
            </a:extLst>
          </p:cNvPr>
          <p:cNvSpPr/>
          <p:nvPr/>
        </p:nvSpPr>
        <p:spPr>
          <a:xfrm>
            <a:off x="3242383" y="2281416"/>
            <a:ext cx="1789926" cy="900280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5CD60788-17FD-8019-4B9E-1E94C2AC279F}"/>
              </a:ext>
            </a:extLst>
          </p:cNvPr>
          <p:cNvSpPr/>
          <p:nvPr/>
        </p:nvSpPr>
        <p:spPr>
          <a:xfrm>
            <a:off x="3527893" y="3458293"/>
            <a:ext cx="1389716" cy="834087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hod of Compliance</a:t>
            </a:r>
            <a:endParaRPr lang="en-US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4837714-FB3A-2AE4-0C03-13856DE3765F}"/>
              </a:ext>
            </a:extLst>
          </p:cNvPr>
          <p:cNvCxnSpPr>
            <a:endCxn id="11" idx="4"/>
          </p:cNvCxnSpPr>
          <p:nvPr/>
        </p:nvCxnSpPr>
        <p:spPr>
          <a:xfrm flipV="1">
            <a:off x="4137346" y="3181696"/>
            <a:ext cx="0" cy="410163"/>
          </a:xfrm>
          <a:prstGeom prst="straightConnector1">
            <a:avLst/>
          </a:prstGeom>
          <a:ln>
            <a:solidFill>
              <a:srgbClr val="0432FF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D7AF2B5F-9AFF-48AA-6CA8-2C23B6182949}"/>
              </a:ext>
            </a:extLst>
          </p:cNvPr>
          <p:cNvSpPr/>
          <p:nvPr/>
        </p:nvSpPr>
        <p:spPr>
          <a:xfrm>
            <a:off x="5407742" y="2449433"/>
            <a:ext cx="1254258" cy="59279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-nominal situations</a:t>
            </a:r>
            <a:endParaRPr lang="en-US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96C9407-B90C-CC25-77D6-FD03968B3A2B}"/>
              </a:ext>
            </a:extLst>
          </p:cNvPr>
          <p:cNvCxnSpPr>
            <a:cxnSpLocks/>
            <a:stCxn id="3" idx="2"/>
            <a:endCxn id="2" idx="0"/>
          </p:cNvCxnSpPr>
          <p:nvPr/>
        </p:nvCxnSpPr>
        <p:spPr>
          <a:xfrm>
            <a:off x="3172570" y="1623595"/>
            <a:ext cx="2862301" cy="82583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E7CD88A3-54F4-F889-69A0-120E39629043}"/>
              </a:ext>
            </a:extLst>
          </p:cNvPr>
          <p:cNvSpPr/>
          <p:nvPr/>
        </p:nvSpPr>
        <p:spPr>
          <a:xfrm>
            <a:off x="5227372" y="2377523"/>
            <a:ext cx="1675226" cy="743947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A2F69CE4-8171-EF43-AC55-72A56AA1FC3B}"/>
              </a:ext>
            </a:extLst>
          </p:cNvPr>
          <p:cNvSpPr/>
          <p:nvPr/>
        </p:nvSpPr>
        <p:spPr>
          <a:xfrm>
            <a:off x="5400241" y="3440648"/>
            <a:ext cx="1389716" cy="834087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hod of Compliance</a:t>
            </a:r>
            <a:endParaRPr lang="en-US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2299F12-7ABD-CBF2-0E7E-298941947697}"/>
              </a:ext>
            </a:extLst>
          </p:cNvPr>
          <p:cNvCxnSpPr>
            <a:cxnSpLocks/>
            <a:endCxn id="14" idx="4"/>
          </p:cNvCxnSpPr>
          <p:nvPr/>
        </p:nvCxnSpPr>
        <p:spPr>
          <a:xfrm flipV="1">
            <a:off x="6064985" y="3121470"/>
            <a:ext cx="0" cy="435323"/>
          </a:xfrm>
          <a:prstGeom prst="straightConnector1">
            <a:avLst/>
          </a:prstGeom>
          <a:ln>
            <a:solidFill>
              <a:srgbClr val="0432FF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D8632321-F723-68AB-844D-90D24426B4A2}"/>
              </a:ext>
            </a:extLst>
          </p:cNvPr>
          <p:cNvSpPr/>
          <p:nvPr/>
        </p:nvSpPr>
        <p:spPr>
          <a:xfrm>
            <a:off x="5359922" y="984261"/>
            <a:ext cx="2037256" cy="743947"/>
          </a:xfrm>
          <a:prstGeom prst="round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Conformance Monitoring for Situation Awareness(CMSA)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475B1768-77F3-E07E-9DB6-46744B7F8253}"/>
              </a:ext>
            </a:extLst>
          </p:cNvPr>
          <p:cNvCxnSpPr>
            <a:cxnSpLocks/>
            <a:stCxn id="18" idx="2"/>
            <a:endCxn id="2" idx="0"/>
          </p:cNvCxnSpPr>
          <p:nvPr/>
        </p:nvCxnSpPr>
        <p:spPr>
          <a:xfrm flipH="1">
            <a:off x="6034871" y="1728208"/>
            <a:ext cx="343679" cy="721225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377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4" grpId="0" animBg="1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14" y="66318"/>
            <a:ext cx="8039099" cy="473202"/>
          </a:xfrm>
          <a:prstGeom prst="rect">
            <a:avLst/>
          </a:prstGeom>
          <a:ln>
            <a:noFill/>
          </a:ln>
        </p:spPr>
        <p:txBody>
          <a:bodyPr>
            <a:normAutofit fontScale="90000"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/>
              <a:t>Outlin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E02265-93C8-9C00-90AE-A287ADC60647}"/>
              </a:ext>
            </a:extLst>
          </p:cNvPr>
          <p:cNvSpPr txBox="1">
            <a:spLocks/>
          </p:cNvSpPr>
          <p:nvPr/>
        </p:nvSpPr>
        <p:spPr>
          <a:xfrm>
            <a:off x="927847" y="852682"/>
            <a:ext cx="7342094" cy="3321997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ＭＳ Ｐゴシック"/>
              </a:defRPr>
            </a:lvl1pPr>
            <a:lvl2pPr marL="557213" indent="-214313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8572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2001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5430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endParaRPr lang="en-US" sz="1800" b="1">
              <a:solidFill>
                <a:srgbClr val="1F4E79"/>
              </a:solidFill>
              <a:latin typeface="Calibri" pitchFamily="34" charset="0"/>
              <a:ea typeface="ＭＳ Ｐゴシック"/>
            </a:endParaRPr>
          </a:p>
          <a:p>
            <a:pPr marL="0" indent="0">
              <a:spcBef>
                <a:spcPts val="450"/>
              </a:spcBef>
              <a:buFont typeface="Arial" charset="0"/>
              <a:buNone/>
            </a:pPr>
            <a:endParaRPr lang="en-US" sz="225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4654CC-1599-B4F4-FD2A-7A89603A8E8B}"/>
              </a:ext>
            </a:extLst>
          </p:cNvPr>
          <p:cNvSpPr txBox="1"/>
          <p:nvPr/>
        </p:nvSpPr>
        <p:spPr>
          <a:xfrm>
            <a:off x="1430801" y="852682"/>
            <a:ext cx="6336186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ethod of Compli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ich Collision Risk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TM USS Specific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hod of Compliance for Strategic Coordination Ser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aseline ASTM require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Volume-based Collision Risk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low Diagram: test harness and data collec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nsitivity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nclusions and Future Work</a:t>
            </a:r>
            <a:endParaRPr lang="en-US" sz="16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574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14" y="66318"/>
            <a:ext cx="8039099" cy="473202"/>
          </a:xfrm>
          <a:prstGeom prst="rect">
            <a:avLst/>
          </a:prstGeom>
          <a:ln>
            <a:noFill/>
          </a:ln>
        </p:spPr>
        <p:txBody>
          <a:bodyPr>
            <a:normAutofit fontScale="90000"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/>
              <a:t>Background I: Method of Complianc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E02265-93C8-9C00-90AE-A287ADC60647}"/>
              </a:ext>
            </a:extLst>
          </p:cNvPr>
          <p:cNvSpPr txBox="1">
            <a:spLocks/>
          </p:cNvSpPr>
          <p:nvPr/>
        </p:nvSpPr>
        <p:spPr>
          <a:xfrm>
            <a:off x="927847" y="852682"/>
            <a:ext cx="7342094" cy="3321997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ＭＳ Ｐゴシック"/>
              </a:defRPr>
            </a:lvl1pPr>
            <a:lvl2pPr marL="557213" indent="-214313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8572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2001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5430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endParaRPr lang="en-US" sz="1800" b="1">
              <a:solidFill>
                <a:srgbClr val="1F4E79"/>
              </a:solidFill>
              <a:latin typeface="Calibri" pitchFamily="34" charset="0"/>
              <a:ea typeface="ＭＳ Ｐゴシック"/>
            </a:endParaRPr>
          </a:p>
          <a:p>
            <a:pPr marL="0" indent="0">
              <a:spcBef>
                <a:spcPts val="450"/>
              </a:spcBef>
              <a:buFont typeface="Arial" charset="0"/>
              <a:buNone/>
            </a:pPr>
            <a:endParaRPr lang="en-US" sz="225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4654CC-1599-B4F4-FD2A-7A89603A8E8B}"/>
              </a:ext>
            </a:extLst>
          </p:cNvPr>
          <p:cNvSpPr txBox="1"/>
          <p:nvPr/>
        </p:nvSpPr>
        <p:spPr>
          <a:xfrm>
            <a:off x="1036604" y="968821"/>
            <a:ext cx="723451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effectLst/>
                <a:latin typeface="Helvetica" pitchFamily="2" charset="0"/>
              </a:rPr>
              <a:t>Advisory Circulars 107-2A:</a:t>
            </a:r>
          </a:p>
          <a:p>
            <a:endParaRPr lang="en-US" sz="1600" dirty="0">
              <a:effectLst/>
              <a:latin typeface="Helvetica" pitchFamily="2" charset="0"/>
            </a:endParaRPr>
          </a:p>
          <a:p>
            <a:r>
              <a:rPr lang="en-US" sz="1600" i="1" dirty="0">
                <a:effectLst/>
                <a:latin typeface="Helvetica" pitchFamily="2" charset="0"/>
              </a:rPr>
              <a:t>           </a:t>
            </a:r>
            <a:r>
              <a:rPr lang="en-US" sz="1600" i="1" dirty="0">
                <a:effectLst/>
                <a:latin typeface="Century Gothic" panose="020B0502020202020204" pitchFamily="34" charset="0"/>
              </a:rPr>
              <a:t>“</a:t>
            </a:r>
            <a:r>
              <a:rPr lang="en-US" sz="1600" i="1" dirty="0">
                <a:latin typeface="Century Gothic" panose="020B0502020202020204" pitchFamily="34" charset="0"/>
                <a:cs typeface="Cavolini" panose="03000502040302020204" pitchFamily="66" charset="0"/>
              </a:rPr>
              <a:t>A</a:t>
            </a:r>
            <a:r>
              <a:rPr lang="en-US" sz="1600" i="1" dirty="0">
                <a:effectLst/>
                <a:latin typeface="Century Gothic" panose="020B0502020202020204" pitchFamily="34" charset="0"/>
                <a:cs typeface="Cavolini" panose="03000502040302020204" pitchFamily="66" charset="0"/>
              </a:rPr>
              <a:t> method of compliance (MOC), or a means of compliance, is one method, but not the only method, to show compliance with a regulatory requirement</a:t>
            </a:r>
            <a:r>
              <a:rPr lang="en-US" sz="1600" i="1" dirty="0">
                <a:effectLst/>
                <a:latin typeface="Century Gothic" panose="020B0502020202020204" pitchFamily="34" charset="0"/>
              </a:rPr>
              <a:t>”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4FF0A8-C3D7-FCA2-0A4E-20F3A439AD04}"/>
              </a:ext>
            </a:extLst>
          </p:cNvPr>
          <p:cNvSpPr txBox="1"/>
          <p:nvPr/>
        </p:nvSpPr>
        <p:spPr>
          <a:xfrm>
            <a:off x="1147922" y="3042073"/>
            <a:ext cx="734209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Helvetica" pitchFamily="2" charset="0"/>
              </a:rPr>
              <a:t>A</a:t>
            </a:r>
            <a:r>
              <a:rPr lang="en-US" sz="1600" dirty="0">
                <a:effectLst/>
                <a:latin typeface="Helvetica" pitchFamily="2" charset="0"/>
              </a:rPr>
              <a:t>n MOC can help break down the initial requirement, substitute it with sub-requirements, and </a:t>
            </a:r>
            <a:r>
              <a:rPr lang="en-US" sz="1600" dirty="0">
                <a:latin typeface="Helvetica" pitchFamily="2" charset="0"/>
              </a:rPr>
              <a:t>show</a:t>
            </a:r>
            <a:r>
              <a:rPr lang="en-US" sz="1600" dirty="0">
                <a:effectLst/>
                <a:latin typeface="Helvetica" pitchFamily="2" charset="0"/>
              </a:rPr>
              <a:t> that satisfying the sub-requirements is equal to satisfying the </a:t>
            </a:r>
            <a:r>
              <a:rPr lang="en-US" sz="1600" dirty="0">
                <a:latin typeface="Helvetica" pitchFamily="2" charset="0"/>
              </a:rPr>
              <a:t>initial</a:t>
            </a:r>
            <a:r>
              <a:rPr lang="en-US" sz="1600" dirty="0">
                <a:effectLst/>
                <a:latin typeface="Helvetica" pitchFamily="2" charset="0"/>
              </a:rPr>
              <a:t> requirement.</a:t>
            </a:r>
          </a:p>
        </p:txBody>
      </p:sp>
    </p:spTree>
    <p:extLst>
      <p:ext uri="{BB962C8B-B14F-4D97-AF65-F5344CB8AC3E}">
        <p14:creationId xmlns:p14="http://schemas.microsoft.com/office/powerpoint/2010/main" val="1177779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54654CC-1599-B4F4-FD2A-7A89603A8E8B}"/>
              </a:ext>
            </a:extLst>
          </p:cNvPr>
          <p:cNvSpPr txBox="1"/>
          <p:nvPr/>
        </p:nvSpPr>
        <p:spPr>
          <a:xfrm>
            <a:off x="1073558" y="728392"/>
            <a:ext cx="7073154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 small UA</a:t>
            </a: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sz="1300" dirty="0"/>
              <a:t>Does not exceed the applicable injury severity limit upon impact with a human being</a:t>
            </a: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sz="1300" dirty="0"/>
              <a:t>Does not contain any exposed rotating parts that would lacerate human skin</a:t>
            </a: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sz="1300" dirty="0"/>
              <a:t>Does not contain any safety defects</a:t>
            </a: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14" y="66318"/>
            <a:ext cx="8039099" cy="473202"/>
          </a:xfrm>
          <a:prstGeom prst="rect">
            <a:avLst/>
          </a:prstGeom>
          <a:ln>
            <a:noFill/>
          </a:ln>
        </p:spPr>
        <p:txBody>
          <a:bodyPr>
            <a:normAutofit fontScale="90000"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/>
              <a:t>Sample MOCs in AC 107-2A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E02265-93C8-9C00-90AE-A287ADC60647}"/>
              </a:ext>
            </a:extLst>
          </p:cNvPr>
          <p:cNvSpPr txBox="1">
            <a:spLocks/>
          </p:cNvSpPr>
          <p:nvPr/>
        </p:nvSpPr>
        <p:spPr>
          <a:xfrm>
            <a:off x="927847" y="852682"/>
            <a:ext cx="7342094" cy="3321997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ＭＳ Ｐゴシック"/>
              </a:defRPr>
            </a:lvl1pPr>
            <a:lvl2pPr marL="557213" indent="-214313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8572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2001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5430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endParaRPr lang="en-US" sz="1800" b="1">
              <a:solidFill>
                <a:srgbClr val="1F4E79"/>
              </a:solidFill>
              <a:latin typeface="Calibri" pitchFamily="34" charset="0"/>
              <a:ea typeface="ＭＳ Ｐゴシック"/>
            </a:endParaRPr>
          </a:p>
          <a:p>
            <a:pPr marL="0" indent="0">
              <a:spcBef>
                <a:spcPts val="450"/>
              </a:spcBef>
              <a:buFont typeface="Arial" charset="0"/>
              <a:buNone/>
            </a:pPr>
            <a:endParaRPr lang="en-US" sz="225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ECAD42D-F84B-5ABF-40DF-EF4659F7FC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1443" y="3175523"/>
            <a:ext cx="2268682" cy="170917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8DDE317-C04B-338E-F4EC-91C137D8B03A}"/>
                  </a:ext>
                </a:extLst>
              </p:cNvPr>
              <p:cNvSpPr txBox="1"/>
              <p:nvPr/>
            </p:nvSpPr>
            <p:spPr>
              <a:xfrm>
                <a:off x="2953769" y="2483617"/>
                <a:ext cx="2027414" cy="22794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3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350" i="1">
                              <a:latin typeface="Cambria Math" panose="02040503050406030204" pitchFamily="18" charset="0"/>
                            </a:rPr>
                            <m:t>𝐾𝐸</m:t>
                          </m:r>
                        </m:e>
                        <m:sub>
                          <m:r>
                            <a:rPr lang="en-US" sz="1350" i="1">
                              <a:latin typeface="Cambria Math" panose="02040503050406030204" pitchFamily="18" charset="0"/>
                            </a:rPr>
                            <m:t>𝑖𝑚𝑝𝑎𝑐𝑡</m:t>
                          </m:r>
                        </m:sub>
                      </m:sSub>
                      <m:r>
                        <a:rPr lang="en-US" sz="1350" i="1">
                          <a:latin typeface="Cambria Math" panose="02040503050406030204" pitchFamily="18" charset="0"/>
                        </a:rPr>
                        <m:t>=0.0155</m:t>
                      </m:r>
                      <m:r>
                        <a:rPr lang="en-US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en-US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𝑤</m:t>
                      </m:r>
                      <m:r>
                        <a:rPr lang="en-US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</m:t>
                          </m:r>
                        </m:e>
                        <m:sup>
                          <m:r>
                            <a:rPr lang="en-US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135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8DDE317-C04B-338E-F4EC-91C137D8B0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3769" y="2483617"/>
                <a:ext cx="2027414" cy="227948"/>
              </a:xfrm>
              <a:prstGeom prst="rect">
                <a:avLst/>
              </a:prstGeom>
              <a:blipFill>
                <a:blip r:embed="rId4"/>
                <a:stretch>
                  <a:fillRect l="-1242" b="-2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25B81582-4742-F072-7480-D1330966ADAA}"/>
              </a:ext>
            </a:extLst>
          </p:cNvPr>
          <p:cNvSpPr txBox="1"/>
          <p:nvPr/>
        </p:nvSpPr>
        <p:spPr>
          <a:xfrm>
            <a:off x="2270829" y="2139024"/>
            <a:ext cx="37872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he small UA’s maximum kinetic energy calculated using:</a:t>
            </a:r>
          </a:p>
          <a:p>
            <a:endParaRPr lang="en-US" sz="1200" dirty="0"/>
          </a:p>
          <a:p>
            <a:r>
              <a:rPr lang="en-US" sz="1200" dirty="0"/>
              <a:t>is less than: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371834-7DB5-06CB-D657-2EF348FF0A8A}"/>
              </a:ext>
            </a:extLst>
          </p:cNvPr>
          <p:cNvSpPr txBox="1"/>
          <p:nvPr/>
        </p:nvSpPr>
        <p:spPr>
          <a:xfrm>
            <a:off x="3322081" y="2760024"/>
            <a:ext cx="1684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ategory 2 : 11 ft-</a:t>
            </a:r>
            <a:r>
              <a:rPr lang="en-US" sz="1200" dirty="0" err="1"/>
              <a:t>lbs</a:t>
            </a:r>
            <a:endParaRPr lang="en-US" sz="1200" dirty="0"/>
          </a:p>
          <a:p>
            <a:r>
              <a:rPr lang="en-US" sz="1200" dirty="0"/>
              <a:t>Category 3 : 25 ft-</a:t>
            </a:r>
            <a:r>
              <a:rPr lang="en-US" sz="1200" dirty="0" err="1"/>
              <a:t>lbs</a:t>
            </a:r>
            <a:endParaRPr lang="en-US" sz="1200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A3A38AD2-C952-88C3-1861-813C3B51A387}"/>
              </a:ext>
            </a:extLst>
          </p:cNvPr>
          <p:cNvSpPr/>
          <p:nvPr/>
        </p:nvSpPr>
        <p:spPr>
          <a:xfrm>
            <a:off x="1733384" y="968821"/>
            <a:ext cx="6196204" cy="214510"/>
          </a:xfrm>
          <a:prstGeom prst="roundRect">
            <a:avLst/>
          </a:prstGeom>
          <a:noFill/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63ECAF7-C05C-FAE1-EF42-86B29E7775B5}"/>
              </a:ext>
            </a:extLst>
          </p:cNvPr>
          <p:cNvSpPr/>
          <p:nvPr/>
        </p:nvSpPr>
        <p:spPr>
          <a:xfrm>
            <a:off x="1979363" y="2139024"/>
            <a:ext cx="4090559" cy="2745676"/>
          </a:xfrm>
          <a:prstGeom prst="roundRect">
            <a:avLst>
              <a:gd name="adj" fmla="val 9780"/>
            </a:avLst>
          </a:prstGeom>
          <a:noFill/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40BDDA4-8C15-C498-6B13-E35A04590A00}"/>
              </a:ext>
            </a:extLst>
          </p:cNvPr>
          <p:cNvSpPr txBox="1"/>
          <p:nvPr/>
        </p:nvSpPr>
        <p:spPr>
          <a:xfrm>
            <a:off x="4913177" y="4176684"/>
            <a:ext cx="1215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70C0"/>
                </a:solidFill>
              </a:rPr>
              <a:t>Speed limi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F3A0F4C-84C3-5140-904B-4CCE8FDDCFBA}"/>
              </a:ext>
            </a:extLst>
          </p:cNvPr>
          <p:cNvSpPr txBox="1"/>
          <p:nvPr/>
        </p:nvSpPr>
        <p:spPr>
          <a:xfrm>
            <a:off x="6058063" y="3162333"/>
            <a:ext cx="21508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70C0"/>
                </a:solidFill>
              </a:rPr>
              <a:t>FAA-provided MOC</a:t>
            </a:r>
          </a:p>
        </p:txBody>
      </p: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050ECBD8-BF02-8622-8F30-A6D74C618EDB}"/>
              </a:ext>
            </a:extLst>
          </p:cNvPr>
          <p:cNvCxnSpPr>
            <a:cxnSpLocks/>
            <a:stCxn id="15" idx="3"/>
            <a:endCxn id="16" idx="3"/>
          </p:cNvCxnSpPr>
          <p:nvPr/>
        </p:nvCxnSpPr>
        <p:spPr>
          <a:xfrm flipH="1">
            <a:off x="6069922" y="1076076"/>
            <a:ext cx="1859666" cy="2435786"/>
          </a:xfrm>
          <a:prstGeom prst="bentConnector3">
            <a:avLst>
              <a:gd name="adj1" fmla="val -12293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7CE5F80-8D10-FAA9-4C2F-E870AF8F3B67}"/>
              </a:ext>
            </a:extLst>
          </p:cNvPr>
          <p:cNvSpPr/>
          <p:nvPr/>
        </p:nvSpPr>
        <p:spPr>
          <a:xfrm>
            <a:off x="3417740" y="3840192"/>
            <a:ext cx="1006746" cy="929147"/>
          </a:xfrm>
          <a:prstGeom prst="roundRect">
            <a:avLst>
              <a:gd name="adj" fmla="val 6737"/>
            </a:avLst>
          </a:prstGeom>
          <a:noFill/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62C38EC-D635-4005-092C-59FE8ABD8311}"/>
              </a:ext>
            </a:extLst>
          </p:cNvPr>
          <p:cNvCxnSpPr>
            <a:cxnSpLocks/>
          </p:cNvCxnSpPr>
          <p:nvPr/>
        </p:nvCxnSpPr>
        <p:spPr>
          <a:xfrm>
            <a:off x="4424485" y="4329404"/>
            <a:ext cx="547385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008D051C-D571-7AFA-1A1E-342C5E4AEA2E}"/>
              </a:ext>
            </a:extLst>
          </p:cNvPr>
          <p:cNvSpPr txBox="1"/>
          <p:nvPr/>
        </p:nvSpPr>
        <p:spPr>
          <a:xfrm>
            <a:off x="4854483" y="3488191"/>
            <a:ext cx="12154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70C0"/>
                </a:solidFill>
              </a:rPr>
              <a:t>Kinetic energy limits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4E84DB8B-E6E6-0686-FF3B-1BB182FA443E}"/>
              </a:ext>
            </a:extLst>
          </p:cNvPr>
          <p:cNvCxnSpPr>
            <a:cxnSpLocks/>
            <a:endCxn id="22" idx="0"/>
          </p:cNvCxnSpPr>
          <p:nvPr/>
        </p:nvCxnSpPr>
        <p:spPr>
          <a:xfrm>
            <a:off x="4866340" y="3003443"/>
            <a:ext cx="595863" cy="48474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6B549EB5-CE26-AE13-3C2C-35B224B95D7A}"/>
              </a:ext>
            </a:extLst>
          </p:cNvPr>
          <p:cNvSpPr/>
          <p:nvPr/>
        </p:nvSpPr>
        <p:spPr>
          <a:xfrm>
            <a:off x="3358549" y="2789306"/>
            <a:ext cx="1495934" cy="411470"/>
          </a:xfrm>
          <a:prstGeom prst="roundRect">
            <a:avLst>
              <a:gd name="adj" fmla="val 6737"/>
            </a:avLst>
          </a:prstGeom>
          <a:noFill/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CEAFD53-A0B1-12CB-8FB3-78F8BB4553AE}"/>
              </a:ext>
            </a:extLst>
          </p:cNvPr>
          <p:cNvSpPr txBox="1"/>
          <p:nvPr/>
        </p:nvSpPr>
        <p:spPr>
          <a:xfrm>
            <a:off x="1336061" y="1617620"/>
            <a:ext cx="56026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effectLst/>
                <a:latin typeface="Helvetica" pitchFamily="2" charset="0"/>
              </a:rPr>
              <a:t>“Manufacture the small UAS so that the propellers are internal to the UAS, such as in a ducted fan configuration, then the rotating parts would not be exposed.”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5608CA0D-426A-12DC-B0B3-030278BE8F75}"/>
              </a:ext>
            </a:extLst>
          </p:cNvPr>
          <p:cNvSpPr/>
          <p:nvPr/>
        </p:nvSpPr>
        <p:spPr>
          <a:xfrm>
            <a:off x="1380235" y="1634053"/>
            <a:ext cx="5434734" cy="418547"/>
          </a:xfrm>
          <a:prstGeom prst="roundRect">
            <a:avLst>
              <a:gd name="adj" fmla="val 9780"/>
            </a:avLst>
          </a:prstGeom>
          <a:noFill/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C2E11359-F8F7-D95D-A6A6-3725D7783D04}"/>
              </a:ext>
            </a:extLst>
          </p:cNvPr>
          <p:cNvSpPr/>
          <p:nvPr/>
        </p:nvSpPr>
        <p:spPr>
          <a:xfrm>
            <a:off x="1733384" y="1190144"/>
            <a:ext cx="5662498" cy="198689"/>
          </a:xfrm>
          <a:prstGeom prst="roundRect">
            <a:avLst>
              <a:gd name="adj" fmla="val 9780"/>
            </a:avLst>
          </a:prstGeom>
          <a:noFill/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37FDB365-2CFD-8387-12A0-4B8D46571723}"/>
              </a:ext>
            </a:extLst>
          </p:cNvPr>
          <p:cNvCxnSpPr>
            <a:cxnSpLocks/>
            <a:stCxn id="36" idx="3"/>
            <a:endCxn id="35" idx="3"/>
          </p:cNvCxnSpPr>
          <p:nvPr/>
        </p:nvCxnSpPr>
        <p:spPr>
          <a:xfrm flipH="1">
            <a:off x="6814969" y="1289489"/>
            <a:ext cx="580913" cy="553838"/>
          </a:xfrm>
          <a:prstGeom prst="bentConnector3">
            <a:avLst>
              <a:gd name="adj1" fmla="val -39352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54A28A62-648B-F91A-D568-CA4DA7730290}"/>
              </a:ext>
            </a:extLst>
          </p:cNvPr>
          <p:cNvSpPr txBox="1"/>
          <p:nvPr/>
        </p:nvSpPr>
        <p:spPr>
          <a:xfrm>
            <a:off x="6541022" y="1824271"/>
            <a:ext cx="21508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70C0"/>
                </a:solidFill>
              </a:rPr>
              <a:t>FAA-provided MOC</a:t>
            </a:r>
          </a:p>
        </p:txBody>
      </p:sp>
    </p:spTree>
    <p:extLst>
      <p:ext uri="{BB962C8B-B14F-4D97-AF65-F5344CB8AC3E}">
        <p14:creationId xmlns:p14="http://schemas.microsoft.com/office/powerpoint/2010/main" val="428744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3" grpId="0"/>
      <p:bldP spid="14" grpId="0"/>
      <p:bldP spid="15" grpId="0" animBg="1"/>
      <p:bldP spid="16" grpId="0" animBg="1"/>
      <p:bldP spid="17" grpId="0"/>
      <p:bldP spid="18" grpId="0"/>
      <p:bldP spid="20" grpId="0" animBg="1"/>
      <p:bldP spid="22" grpId="0"/>
      <p:bldP spid="24" grpId="0" animBg="1"/>
      <p:bldP spid="30" grpId="0"/>
      <p:bldP spid="35" grpId="0" animBg="1"/>
      <p:bldP spid="35" grpId="1" animBg="1"/>
      <p:bldP spid="36" grpId="0" animBg="1"/>
      <p:bldP spid="36" grpId="1" animBg="1"/>
      <p:bldP spid="40" grpId="0"/>
      <p:bldP spid="40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14" y="66318"/>
            <a:ext cx="8039099" cy="473202"/>
          </a:xfrm>
          <a:prstGeom prst="rect">
            <a:avLst/>
          </a:prstGeom>
          <a:ln>
            <a:noFill/>
          </a:ln>
        </p:spPr>
        <p:txBody>
          <a:bodyPr>
            <a:normAutofit fontScale="90000"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/>
              <a:t>Background II: Reich Collision Risk Mod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E02265-93C8-9C00-90AE-A287ADC60647}"/>
              </a:ext>
            </a:extLst>
          </p:cNvPr>
          <p:cNvSpPr txBox="1">
            <a:spLocks/>
          </p:cNvSpPr>
          <p:nvPr/>
        </p:nvSpPr>
        <p:spPr>
          <a:xfrm>
            <a:off x="983507" y="719935"/>
            <a:ext cx="7342094" cy="3321997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ＭＳ Ｐゴシック"/>
              </a:defRPr>
            </a:lvl1pPr>
            <a:lvl2pPr marL="557213" indent="-214313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8572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2001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5430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endParaRPr lang="en-US" sz="1800" b="1">
              <a:solidFill>
                <a:srgbClr val="1F4E79"/>
              </a:solidFill>
              <a:latin typeface="Calibri" pitchFamily="34" charset="0"/>
              <a:ea typeface="ＭＳ Ｐゴシック"/>
            </a:endParaRPr>
          </a:p>
          <a:p>
            <a:pPr marL="0" indent="0">
              <a:spcBef>
                <a:spcPts val="450"/>
              </a:spcBef>
              <a:buFont typeface="Arial" charset="0"/>
              <a:buNone/>
            </a:pPr>
            <a:endParaRPr lang="en-US" sz="225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623F94A-CD53-0A74-1E06-F3392A3806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2866" y="1841889"/>
            <a:ext cx="3504648" cy="82667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79602B4-E085-956F-38A8-F289ED70085D}"/>
              </a:ext>
            </a:extLst>
          </p:cNvPr>
          <p:cNvSpPr txBox="1"/>
          <p:nvPr/>
        </p:nvSpPr>
        <p:spPr>
          <a:xfrm>
            <a:off x="1011852" y="786513"/>
            <a:ext cx="734209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Helvetica" pitchFamily="2" charset="0"/>
              </a:rPr>
              <a:t>The Reich Collision Risk Model was developed to assess safety assessment for the North Atlantic Reduced Longitudinal Separation Minimum (</a:t>
            </a:r>
            <a:r>
              <a:rPr lang="en-US" sz="1600" dirty="0" err="1">
                <a:latin typeface="Helvetica" pitchFamily="2" charset="0"/>
              </a:rPr>
              <a:t>RLongSM</a:t>
            </a:r>
            <a:r>
              <a:rPr lang="en-US" sz="1600" dirty="0">
                <a:latin typeface="Helvetica" pitchFamily="2" charset="0"/>
              </a:rPr>
              <a:t>) project by providing a collision risk estimation.</a:t>
            </a:r>
            <a:endParaRPr lang="en-US" sz="1600" dirty="0">
              <a:effectLst/>
              <a:latin typeface="Helvetica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2637D1-B102-FD8E-68CF-F3EEE55E9B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7415" y="2709899"/>
            <a:ext cx="1432999" cy="7978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09A9EC0-21DD-E195-C81C-5B7BD07003D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1752"/>
          <a:stretch/>
        </p:blipFill>
        <p:spPr>
          <a:xfrm>
            <a:off x="255909" y="1631342"/>
            <a:ext cx="2653858" cy="1238286"/>
          </a:xfrm>
          <a:prstGeom prst="rect">
            <a:avLst/>
          </a:prstGeom>
        </p:spPr>
      </p:pic>
      <p:sp>
        <p:nvSpPr>
          <p:cNvPr id="9" name="Freeform 8">
            <a:extLst>
              <a:ext uri="{FF2B5EF4-FFF2-40B4-BE49-F238E27FC236}">
                <a16:creationId xmlns:a16="http://schemas.microsoft.com/office/drawing/2014/main" id="{A4EE2275-0242-0F75-E070-4155202683C8}"/>
              </a:ext>
            </a:extLst>
          </p:cNvPr>
          <p:cNvSpPr/>
          <p:nvPr/>
        </p:nvSpPr>
        <p:spPr>
          <a:xfrm>
            <a:off x="2899106" y="2500244"/>
            <a:ext cx="1121087" cy="608585"/>
          </a:xfrm>
          <a:custGeom>
            <a:avLst/>
            <a:gdLst>
              <a:gd name="connsiteX0" fmla="*/ 0 w 1097280"/>
              <a:gd name="connsiteY0" fmla="*/ 914400 h 914400"/>
              <a:gd name="connsiteX1" fmla="*/ 882594 w 1097280"/>
              <a:gd name="connsiteY1" fmla="*/ 636105 h 914400"/>
              <a:gd name="connsiteX2" fmla="*/ 1097280 w 1097280"/>
              <a:gd name="connsiteY2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7280" h="914400">
                <a:moveTo>
                  <a:pt x="0" y="914400"/>
                </a:moveTo>
                <a:cubicBezTo>
                  <a:pt x="349857" y="851452"/>
                  <a:pt x="699714" y="788505"/>
                  <a:pt x="882594" y="636105"/>
                </a:cubicBezTo>
                <a:cubicBezTo>
                  <a:pt x="1065474" y="483705"/>
                  <a:pt x="1081377" y="241852"/>
                  <a:pt x="1097280" y="0"/>
                </a:cubicBezTo>
              </a:path>
            </a:pathLst>
          </a:custGeom>
          <a:noFill/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F5E861-2C97-B74B-8698-A3FB681CFDCD}"/>
              </a:ext>
            </a:extLst>
          </p:cNvPr>
          <p:cNvSpPr txBox="1"/>
          <p:nvPr/>
        </p:nvSpPr>
        <p:spPr>
          <a:xfrm>
            <a:off x="6715302" y="1631342"/>
            <a:ext cx="1638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70C0"/>
                </a:solidFill>
              </a:rPr>
              <a:t>Avg. relative passing speeds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4830D7E8-7F7A-A8F2-FD32-536A25D7ACBC}"/>
              </a:ext>
            </a:extLst>
          </p:cNvPr>
          <p:cNvSpPr/>
          <p:nvPr/>
        </p:nvSpPr>
        <p:spPr>
          <a:xfrm>
            <a:off x="5339816" y="1684088"/>
            <a:ext cx="1534602" cy="217034"/>
          </a:xfrm>
          <a:custGeom>
            <a:avLst/>
            <a:gdLst>
              <a:gd name="connsiteX0" fmla="*/ 1534602 w 1534602"/>
              <a:gd name="connsiteY0" fmla="*/ 121619 h 217034"/>
              <a:gd name="connsiteX1" fmla="*/ 341906 w 1534602"/>
              <a:gd name="connsiteY1" fmla="*/ 2349 h 217034"/>
              <a:gd name="connsiteX2" fmla="*/ 0 w 1534602"/>
              <a:gd name="connsiteY2" fmla="*/ 217034 h 217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34602" h="217034">
                <a:moveTo>
                  <a:pt x="1534602" y="121619"/>
                </a:moveTo>
                <a:cubicBezTo>
                  <a:pt x="1066137" y="54032"/>
                  <a:pt x="597673" y="-13554"/>
                  <a:pt x="341906" y="2349"/>
                </a:cubicBezTo>
                <a:cubicBezTo>
                  <a:pt x="86139" y="18251"/>
                  <a:pt x="43069" y="117642"/>
                  <a:pt x="0" y="217034"/>
                </a:cubicBezTo>
              </a:path>
            </a:pathLst>
          </a:custGeom>
          <a:noFill/>
          <a:ln w="1905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052A38B-4FA1-A0B1-16A8-4C427B4C0B3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3501"/>
          <a:stretch/>
        </p:blipFill>
        <p:spPr>
          <a:xfrm>
            <a:off x="255909" y="2843385"/>
            <a:ext cx="2653858" cy="775923"/>
          </a:xfrm>
          <a:prstGeom prst="rect">
            <a:avLst/>
          </a:prstGeom>
        </p:spPr>
      </p:pic>
      <p:sp>
        <p:nvSpPr>
          <p:cNvPr id="18" name="Freeform 17">
            <a:extLst>
              <a:ext uri="{FF2B5EF4-FFF2-40B4-BE49-F238E27FC236}">
                <a16:creationId xmlns:a16="http://schemas.microsoft.com/office/drawing/2014/main" id="{3CDFEBE1-D6A3-86F6-01FE-11C32E86A216}"/>
              </a:ext>
            </a:extLst>
          </p:cNvPr>
          <p:cNvSpPr/>
          <p:nvPr/>
        </p:nvSpPr>
        <p:spPr>
          <a:xfrm flipH="1">
            <a:off x="5283019" y="2619327"/>
            <a:ext cx="951216" cy="354461"/>
          </a:xfrm>
          <a:custGeom>
            <a:avLst/>
            <a:gdLst>
              <a:gd name="connsiteX0" fmla="*/ 0 w 1097280"/>
              <a:gd name="connsiteY0" fmla="*/ 914400 h 914400"/>
              <a:gd name="connsiteX1" fmla="*/ 882594 w 1097280"/>
              <a:gd name="connsiteY1" fmla="*/ 636105 h 914400"/>
              <a:gd name="connsiteX2" fmla="*/ 1097280 w 1097280"/>
              <a:gd name="connsiteY2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7280" h="914400">
                <a:moveTo>
                  <a:pt x="0" y="914400"/>
                </a:moveTo>
                <a:cubicBezTo>
                  <a:pt x="349857" y="851452"/>
                  <a:pt x="699714" y="788505"/>
                  <a:pt x="882594" y="636105"/>
                </a:cubicBezTo>
                <a:cubicBezTo>
                  <a:pt x="1065474" y="483705"/>
                  <a:pt x="1081377" y="241852"/>
                  <a:pt x="1097280" y="0"/>
                </a:cubicBezTo>
              </a:path>
            </a:pathLst>
          </a:custGeom>
          <a:noFill/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BBB271-DBC4-2F0A-20B0-A8E7DAA6662D}"/>
              </a:ext>
            </a:extLst>
          </p:cNvPr>
          <p:cNvSpPr txBox="1"/>
          <p:nvPr/>
        </p:nvSpPr>
        <p:spPr>
          <a:xfrm>
            <a:off x="767814" y="3837746"/>
            <a:ext cx="821715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Helvetica" pitchFamily="2" charset="0"/>
              </a:rPr>
              <a:t>Why the Reich model is not suitable for UTM at the current stag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Requires adequate and representative traffic data to derive probabilistic distribu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Performs effectively only with parallel routes over extended ranges</a:t>
            </a:r>
          </a:p>
        </p:txBody>
      </p:sp>
    </p:spTree>
    <p:extLst>
      <p:ext uri="{BB962C8B-B14F-4D97-AF65-F5344CB8AC3E}">
        <p14:creationId xmlns:p14="http://schemas.microsoft.com/office/powerpoint/2010/main" val="1756383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/>
      <p:bldP spid="15" grpId="0" animBg="1"/>
      <p:bldP spid="18" grpId="0" animBg="1"/>
      <p:bldP spid="1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14" y="66318"/>
            <a:ext cx="8039099" cy="473202"/>
          </a:xfrm>
          <a:prstGeom prst="rect">
            <a:avLst/>
          </a:prstGeom>
          <a:ln>
            <a:noFill/>
          </a:ln>
        </p:spPr>
        <p:txBody>
          <a:bodyPr>
            <a:normAutofit fontScale="90000"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/>
              <a:t>Background III: ASTM UTM USS Specificatio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E02265-93C8-9C00-90AE-A287ADC60647}"/>
              </a:ext>
            </a:extLst>
          </p:cNvPr>
          <p:cNvSpPr txBox="1">
            <a:spLocks/>
          </p:cNvSpPr>
          <p:nvPr/>
        </p:nvSpPr>
        <p:spPr>
          <a:xfrm>
            <a:off x="927847" y="852682"/>
            <a:ext cx="7342094" cy="3321997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ＭＳ Ｐゴシック"/>
              </a:defRPr>
            </a:lvl1pPr>
            <a:lvl2pPr marL="557213" indent="-214313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8572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2001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5430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endParaRPr lang="en-US" sz="1800" b="1">
              <a:solidFill>
                <a:srgbClr val="1F4E79"/>
              </a:solidFill>
              <a:latin typeface="Calibri" pitchFamily="34" charset="0"/>
              <a:ea typeface="ＭＳ Ｐゴシック"/>
            </a:endParaRPr>
          </a:p>
          <a:p>
            <a:pPr marL="0" indent="0">
              <a:spcBef>
                <a:spcPts val="450"/>
              </a:spcBef>
              <a:buFont typeface="Arial" charset="0"/>
              <a:buNone/>
            </a:pPr>
            <a:endParaRPr lang="en-US" sz="225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13C75-599C-43C9-1546-37EED852D4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192" y="1025767"/>
            <a:ext cx="7790749" cy="297582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952ECAC-E9CC-366A-7BED-FE178A278A11}"/>
              </a:ext>
            </a:extLst>
          </p:cNvPr>
          <p:cNvSpPr txBox="1"/>
          <p:nvPr/>
        </p:nvSpPr>
        <p:spPr>
          <a:xfrm>
            <a:off x="3362414" y="712605"/>
            <a:ext cx="21508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70C0"/>
                </a:solidFill>
              </a:rPr>
              <a:t>ASTM F3548-21</a:t>
            </a:r>
          </a:p>
        </p:txBody>
      </p:sp>
    </p:spTree>
    <p:extLst>
      <p:ext uri="{BB962C8B-B14F-4D97-AF65-F5344CB8AC3E}">
        <p14:creationId xmlns:p14="http://schemas.microsoft.com/office/powerpoint/2010/main" val="4759358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14" y="66318"/>
            <a:ext cx="8039099" cy="473202"/>
          </a:xfrm>
          <a:prstGeom prst="rect">
            <a:avLst/>
          </a:prstGeom>
          <a:ln>
            <a:noFill/>
          </a:ln>
        </p:spPr>
        <p:txBody>
          <a:bodyPr>
            <a:normAutofit fontScale="90000"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/>
              <a:t>Outlin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E02265-93C8-9C00-90AE-A287ADC60647}"/>
              </a:ext>
            </a:extLst>
          </p:cNvPr>
          <p:cNvSpPr txBox="1">
            <a:spLocks/>
          </p:cNvSpPr>
          <p:nvPr/>
        </p:nvSpPr>
        <p:spPr>
          <a:xfrm>
            <a:off x="927847" y="852682"/>
            <a:ext cx="7342094" cy="3321997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ＭＳ Ｐゴシック"/>
              </a:defRPr>
            </a:lvl1pPr>
            <a:lvl2pPr marL="557213" indent="-214313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8572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2001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5430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endParaRPr lang="en-US" sz="1800" b="1">
              <a:solidFill>
                <a:srgbClr val="1F4E79"/>
              </a:solidFill>
              <a:latin typeface="Calibri" pitchFamily="34" charset="0"/>
              <a:ea typeface="ＭＳ Ｐゴシック"/>
            </a:endParaRPr>
          </a:p>
          <a:p>
            <a:pPr marL="0" indent="0">
              <a:spcBef>
                <a:spcPts val="450"/>
              </a:spcBef>
              <a:buFont typeface="Arial" charset="0"/>
              <a:buNone/>
            </a:pPr>
            <a:endParaRPr lang="en-US" sz="225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4654CC-1599-B4F4-FD2A-7A89603A8E8B}"/>
              </a:ext>
            </a:extLst>
          </p:cNvPr>
          <p:cNvSpPr txBox="1"/>
          <p:nvPr/>
        </p:nvSpPr>
        <p:spPr>
          <a:xfrm>
            <a:off x="1430801" y="852682"/>
            <a:ext cx="6336186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ethod of Compli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ich Collision Risk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TM USS Specific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hod of Compliance for Strategic Coordination Ser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aseline ASTM require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Volume-based Collision Risk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low Diagram: test harness and data collec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nsitivity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nclusions and Future Work</a:t>
            </a:r>
            <a:endParaRPr lang="en-US" sz="16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100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>
            <a:extLst>
              <a:ext uri="{FF2B5EF4-FFF2-40B4-BE49-F238E27FC236}">
                <a16:creationId xmlns:a16="http://schemas.microsoft.com/office/drawing/2014/main" id="{409DC1B0-619F-A94A-86B9-988887A89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14" y="66318"/>
            <a:ext cx="8039099" cy="473202"/>
          </a:xfrm>
          <a:prstGeom prst="rect">
            <a:avLst/>
          </a:prstGeom>
          <a:ln>
            <a:noFill/>
          </a:ln>
        </p:spPr>
        <p:txBody>
          <a:bodyPr>
            <a:normAutofit fontScale="90000"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/>
              <a:t>Baseline ASTM Requirement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E02265-93C8-9C00-90AE-A287ADC60647}"/>
              </a:ext>
            </a:extLst>
          </p:cNvPr>
          <p:cNvSpPr txBox="1">
            <a:spLocks/>
          </p:cNvSpPr>
          <p:nvPr/>
        </p:nvSpPr>
        <p:spPr>
          <a:xfrm>
            <a:off x="927847" y="852682"/>
            <a:ext cx="7342094" cy="3321997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ＭＳ Ｐゴシック"/>
              </a:defRPr>
            </a:lvl1pPr>
            <a:lvl2pPr marL="557213" indent="-214313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8572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2001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5430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endParaRPr lang="en-US" sz="1800" b="1">
              <a:solidFill>
                <a:srgbClr val="1F4E79"/>
              </a:solidFill>
              <a:latin typeface="Calibri" pitchFamily="34" charset="0"/>
              <a:ea typeface="ＭＳ Ｐゴシック"/>
            </a:endParaRPr>
          </a:p>
          <a:p>
            <a:pPr marL="0" indent="0">
              <a:spcBef>
                <a:spcPts val="450"/>
              </a:spcBef>
              <a:buFont typeface="Arial" charset="0"/>
              <a:buNone/>
            </a:pPr>
            <a:endParaRPr lang="en-US" sz="225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566E0E-74E0-B6E7-9E04-535018106102}"/>
              </a:ext>
            </a:extLst>
          </p:cNvPr>
          <p:cNvSpPr txBox="1"/>
          <p:nvPr/>
        </p:nvSpPr>
        <p:spPr>
          <a:xfrm>
            <a:off x="429859" y="1086546"/>
            <a:ext cx="389109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effectLst/>
                <a:latin typeface="Helvetica" pitchFamily="2" charset="0"/>
              </a:rPr>
              <a:t>"Operational intents shall (OPIN0010) be constructed such that the UA’s actual position is inside an operational intent in the Activated state at least 95 percent of total flight time.”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6C57D79-A123-5809-8074-52A7FD6F9B27}"/>
              </a:ext>
            </a:extLst>
          </p:cNvPr>
          <p:cNvSpPr/>
          <p:nvPr/>
        </p:nvSpPr>
        <p:spPr>
          <a:xfrm>
            <a:off x="5782067" y="2231069"/>
            <a:ext cx="1644811" cy="619814"/>
          </a:xfrm>
          <a:prstGeom prst="round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Strategic Conflict Detection (SCD)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C23F3131-631D-7B1B-6AD9-BE1B217744E4}"/>
              </a:ext>
            </a:extLst>
          </p:cNvPr>
          <p:cNvSpPr/>
          <p:nvPr/>
        </p:nvSpPr>
        <p:spPr>
          <a:xfrm>
            <a:off x="5026741" y="3235539"/>
            <a:ext cx="1374321" cy="834086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tional Intent Conflict, 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permitted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9785819-920F-B98C-A067-6387C65A7584}"/>
              </a:ext>
            </a:extLst>
          </p:cNvPr>
          <p:cNvSpPr/>
          <p:nvPr/>
        </p:nvSpPr>
        <p:spPr>
          <a:xfrm>
            <a:off x="6831982" y="3235538"/>
            <a:ext cx="1389716" cy="83408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tional Intent Conflict, 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mitted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633EC26-4251-FC4B-28D3-D5740C625B0B}"/>
              </a:ext>
            </a:extLst>
          </p:cNvPr>
          <p:cNvCxnSpPr>
            <a:cxnSpLocks/>
            <a:endCxn id="15" idx="0"/>
          </p:cNvCxnSpPr>
          <p:nvPr/>
        </p:nvCxnSpPr>
        <p:spPr>
          <a:xfrm flipH="1">
            <a:off x="5713901" y="2867564"/>
            <a:ext cx="880864" cy="384655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FEB49E2-6400-D732-10FD-7584CDDFF1F7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6594765" y="2867564"/>
            <a:ext cx="932075" cy="36797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ADF6D54F-CA78-880F-7DC4-6B36EBE8C704}"/>
              </a:ext>
            </a:extLst>
          </p:cNvPr>
          <p:cNvSpPr/>
          <p:nvPr/>
        </p:nvSpPr>
        <p:spPr>
          <a:xfrm>
            <a:off x="4818938" y="3252219"/>
            <a:ext cx="1789926" cy="877632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F85C94A-E39F-8B7F-6328-9AF2697CA751}"/>
              </a:ext>
            </a:extLst>
          </p:cNvPr>
          <p:cNvSpPr txBox="1"/>
          <p:nvPr/>
        </p:nvSpPr>
        <p:spPr>
          <a:xfrm>
            <a:off x="303692" y="2960083"/>
            <a:ext cx="418090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effectLst/>
                <a:latin typeface="Helvetica" pitchFamily="2" charset="0"/>
              </a:rPr>
              <a:t>"A managing USS shall (SCD0035) verify that before transitioning an operational intent to the Accepted state, it does </a:t>
            </a:r>
            <a:r>
              <a:rPr lang="en-US" sz="1400" b="1" i="1" dirty="0">
                <a:effectLst/>
                <a:latin typeface="Helvetica" pitchFamily="2" charset="0"/>
              </a:rPr>
              <a:t>not conflict with </a:t>
            </a:r>
            <a:r>
              <a:rPr lang="en-US" sz="1400" i="1" dirty="0">
                <a:effectLst/>
                <a:latin typeface="Helvetica" pitchFamily="2" charset="0"/>
              </a:rPr>
              <a:t>an equal priority operational intent when the regulation does not allow conflicts within the same priority level."</a:t>
            </a:r>
          </a:p>
          <a:p>
            <a:endParaRPr lang="en-US" sz="1400" i="1" dirty="0">
              <a:effectLst/>
              <a:latin typeface="Helvetica" pitchFamily="2" charset="0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199D2E4B-5834-DCB5-FC71-596724667BC7}"/>
              </a:ext>
            </a:extLst>
          </p:cNvPr>
          <p:cNvSpPr/>
          <p:nvPr/>
        </p:nvSpPr>
        <p:spPr>
          <a:xfrm>
            <a:off x="6170741" y="4125609"/>
            <a:ext cx="1389716" cy="834087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hod of Compliance</a:t>
            </a:r>
            <a:endParaRPr lang="en-US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9A12E74-C207-8FBA-E692-A93D24A84D96}"/>
              </a:ext>
            </a:extLst>
          </p:cNvPr>
          <p:cNvCxnSpPr>
            <a:cxnSpLocks/>
          </p:cNvCxnSpPr>
          <p:nvPr/>
        </p:nvCxnSpPr>
        <p:spPr>
          <a:xfrm flipH="1" flipV="1">
            <a:off x="6066845" y="4102987"/>
            <a:ext cx="182880" cy="230474"/>
          </a:xfrm>
          <a:prstGeom prst="straightConnector1">
            <a:avLst/>
          </a:prstGeom>
          <a:ln>
            <a:solidFill>
              <a:srgbClr val="0432FF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9522328-F79B-31CE-5DF3-E48557D68DAA}"/>
              </a:ext>
            </a:extLst>
          </p:cNvPr>
          <p:cNvSpPr/>
          <p:nvPr/>
        </p:nvSpPr>
        <p:spPr>
          <a:xfrm>
            <a:off x="5753820" y="1123665"/>
            <a:ext cx="1773020" cy="718194"/>
          </a:xfrm>
          <a:prstGeom prst="round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Operational Intent Creation and Modification (OICM)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17E7A4B-4A0B-7DC8-3281-6164FF9ADEF2}"/>
              </a:ext>
            </a:extLst>
          </p:cNvPr>
          <p:cNvCxnSpPr>
            <a:cxnSpLocks/>
            <a:stCxn id="3" idx="3"/>
          </p:cNvCxnSpPr>
          <p:nvPr/>
        </p:nvCxnSpPr>
        <p:spPr>
          <a:xfrm>
            <a:off x="4320950" y="1563600"/>
            <a:ext cx="1252914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928F75F-BFC7-0251-C14D-8CF6BD206FCC}"/>
              </a:ext>
            </a:extLst>
          </p:cNvPr>
          <p:cNvCxnSpPr>
            <a:cxnSpLocks/>
          </p:cNvCxnSpPr>
          <p:nvPr/>
        </p:nvCxnSpPr>
        <p:spPr>
          <a:xfrm>
            <a:off x="4298872" y="3252219"/>
            <a:ext cx="520066" cy="317917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5562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animBg="1"/>
      <p:bldP spid="5" grpId="0" animBg="1"/>
      <p:bldP spid="6" grpId="0" animBg="1"/>
      <p:bldP spid="15" grpId="0" animBg="1"/>
      <p:bldP spid="16" grpId="0"/>
      <p:bldP spid="2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xIJrIaf0r7KvoQDSLf1w"/>
</p:tagLst>
</file>

<file path=ppt/theme/theme1.xml><?xml version="1.0" encoding="utf-8"?>
<a:theme xmlns:a="http://schemas.openxmlformats.org/drawingml/2006/main" name="2_nasa_asp_present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Theme">
      <a:majorFont>
        <a:latin typeface=""/>
        <a:ea typeface="ＭＳ Ｐゴシック"/>
        <a:cs typeface="ＭＳ Ｐゴシック"/>
      </a:majorFont>
      <a:minorFont>
        <a:latin typeface="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triangle"/>
          <a:tailEnd type="triangle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ASA_UAM" id="{D0F915FD-BD66-1246-86AD-0B28E5FF3638}" vid="{EC954705-109C-5649-B652-F7C9DFD6939A}"/>
    </a:ext>
  </a:extLst>
</a:theme>
</file>

<file path=ppt/theme/theme2.xml><?xml version="1.0" encoding="utf-8"?>
<a:theme xmlns:a="http://schemas.openxmlformats.org/drawingml/2006/main" name="1_nasa_asp_present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Theme">
      <a:majorFont>
        <a:latin typeface=""/>
        <a:ea typeface="ＭＳ Ｐゴシック"/>
        <a:cs typeface="ＭＳ Ｐゴシック"/>
      </a:majorFont>
      <a:minorFont>
        <a:latin typeface="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triangle"/>
          <a:tailEnd type="triangle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" id="{18636BE5-743E-0640-8493-37B8A231A3B6}" vid="{CF2B61B8-B4C7-E04B-BB97-970387E5535D}"/>
    </a:ext>
  </a:extLst>
</a:theme>
</file>

<file path=ppt/theme/theme4.xml><?xml version="1.0" encoding="utf-8"?>
<a:theme xmlns:a="http://schemas.openxmlformats.org/drawingml/2006/main" name="2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6" id="{144FF5E3-63CF-49D4-A0AC-7F0655252FF1}" vid="{3783D7D7-0C66-4BF0-A920-2BD1B7D6F928}"/>
    </a:ext>
  </a:extLst>
</a:theme>
</file>

<file path=ppt/theme/theme5.xml><?xml version="1.0" encoding="utf-8"?>
<a:theme xmlns:a="http://schemas.openxmlformats.org/drawingml/2006/main" name="2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6" id="{144FF5E3-63CF-49D4-A0AC-7F0655252FF1}" vid="{3783D7D7-0C66-4BF0-A920-2BD1B7D6F928}"/>
    </a:ext>
  </a:extLst>
</a:theme>
</file>

<file path=ppt/theme/theme6.xml><?xml version="1.0" encoding="utf-8"?>
<a:theme xmlns:a="http://schemas.openxmlformats.org/drawingml/2006/main" name="2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6" id="{144FF5E3-63CF-49D4-A0AC-7F0655252FF1}" vid="{3783D7D7-0C66-4BF0-A920-2BD1B7D6F92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2F38301-DFE0-46B7-AE58-220F960C752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8596B11-5DA7-4927-A237-8D499045F8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B91FF9B-6698-4D72-851B-AAA58B5124FB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005d458-45be-48ae-8140-d43da96dd17b}" enabled="0" method="" siteId="{7005d458-45be-48ae-8140-d43da96dd17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446</TotalTime>
  <Words>1177</Words>
  <Application>Microsoft Office PowerPoint</Application>
  <PresentationFormat>On-screen Show (16:9)</PresentationFormat>
  <Paragraphs>274</Paragraphs>
  <Slides>23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Arial</vt:lpstr>
      <vt:lpstr>Arial Black</vt:lpstr>
      <vt:lpstr>Avenir Book</vt:lpstr>
      <vt:lpstr>Calibri</vt:lpstr>
      <vt:lpstr>Cambria Math</vt:lpstr>
      <vt:lpstr>Century Gothic</vt:lpstr>
      <vt:lpstr>Helvetica</vt:lpstr>
      <vt:lpstr>2_nasa_asp_presentation</vt:lpstr>
      <vt:lpstr>1_nasa_asp_presentation</vt:lpstr>
      <vt:lpstr>20_Office Theme</vt:lpstr>
      <vt:lpstr>21_Office Theme</vt:lpstr>
      <vt:lpstr>22_Office Theme</vt:lpstr>
      <vt:lpstr>23_Office Theme</vt:lpstr>
      <vt:lpstr>think-cell Slide</vt:lpstr>
      <vt:lpstr>A Method of Compliance for Achieving Target Collision Risk in UTM Operations</vt:lpstr>
      <vt:lpstr>PowerPoint Presentation</vt:lpstr>
      <vt:lpstr>Outline</vt:lpstr>
      <vt:lpstr>Background I: Method of Compliance</vt:lpstr>
      <vt:lpstr>Sample MOCs in AC 107-2A</vt:lpstr>
      <vt:lpstr>Background II: Reich Collision Risk Model</vt:lpstr>
      <vt:lpstr>Background III: ASTM UTM USS Specification</vt:lpstr>
      <vt:lpstr>Outline</vt:lpstr>
      <vt:lpstr>Baseline ASTM Requirements</vt:lpstr>
      <vt:lpstr>Outline</vt:lpstr>
      <vt:lpstr>Volume-base Collision Risk Model</vt:lpstr>
      <vt:lpstr>Volume-base Collision Risk Model: Collision Risk between Elliptical Shapes</vt:lpstr>
      <vt:lpstr>Volume-base Collision Risk Model: Collision Risk between Rectangular Cuboids</vt:lpstr>
      <vt:lpstr>Volume-base Collision Risk Model: Example</vt:lpstr>
      <vt:lpstr>Outline</vt:lpstr>
      <vt:lpstr>Flow Diagram: MOC for the Strategic Coordination Services</vt:lpstr>
      <vt:lpstr>Outline</vt:lpstr>
      <vt:lpstr>Impact of Different SC Services</vt:lpstr>
      <vt:lpstr>Impact of Layout of Operational Intents</vt:lpstr>
      <vt:lpstr>Impact of Operational Intent Size: larger intents</vt:lpstr>
      <vt:lpstr>Impact of Operational Intent Size: smaller intents</vt:lpstr>
      <vt:lpstr>Conclusions</vt:lpstr>
      <vt:lpstr>Future work</vt:lpstr>
    </vt:vector>
  </TitlesOfParts>
  <Manager/>
  <Company>Microsoft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ents</dc:title>
  <dc:subject/>
  <dc:creator>rrosen</dc:creator>
  <cp:keywords/>
  <dc:description/>
  <cp:lastModifiedBy>Skinas, Kate D (ARC-AF)[MIRACORP, INC]</cp:lastModifiedBy>
  <cp:revision>39</cp:revision>
  <cp:lastPrinted>2020-07-12T20:54:21Z</cp:lastPrinted>
  <dcterms:created xsi:type="dcterms:W3CDTF">2015-10-26T12:44:38Z</dcterms:created>
  <dcterms:modified xsi:type="dcterms:W3CDTF">2024-07-26T19:40:02Z</dcterms:modified>
  <cp:category/>
</cp:coreProperties>
</file>